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1"/>
  </p:notesMasterIdLst>
  <p:handoutMasterIdLst>
    <p:handoutMasterId r:id="rId12"/>
  </p:handoutMasterIdLst>
  <p:sldIdLst>
    <p:sldId id="461" r:id="rId5"/>
    <p:sldId id="463" r:id="rId6"/>
    <p:sldId id="464" r:id="rId7"/>
    <p:sldId id="465" r:id="rId8"/>
    <p:sldId id="460" r:id="rId9"/>
    <p:sldId id="462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EAACB"/>
    <a:srgbClr val="FFC625"/>
    <a:srgbClr val="FFFFFF"/>
    <a:srgbClr val="F8F9FA"/>
    <a:srgbClr val="1369BE"/>
    <a:srgbClr val="E0F0FF"/>
    <a:srgbClr val="DAE6F4"/>
    <a:srgbClr val="C1EFFF"/>
    <a:srgbClr val="71D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81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391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mang Mahale, Ranjeeta" userId="b9c213eb-a22c-4398-8f62-b45547c5aea4" providerId="ADAL" clId="{18393435-7946-40EC-AD12-85B1E9C3CA0B}"/>
    <pc:docChg chg="undo custSel addSld delSld modSld sldOrd modMainMaster">
      <pc:chgData name="Tamang Mahale, Ranjeeta" userId="b9c213eb-a22c-4398-8f62-b45547c5aea4" providerId="ADAL" clId="{18393435-7946-40EC-AD12-85B1E9C3CA0B}" dt="2023-10-13T09:34:46.262" v="154"/>
      <pc:docMkLst>
        <pc:docMk/>
      </pc:docMkLst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2952540295" sldId="396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404521572" sldId="423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3145472192" sldId="424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831980949" sldId="425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2199797666" sldId="426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3099626884" sldId="427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3807096287" sldId="429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2693295718" sldId="430"/>
        </pc:sldMkLst>
      </pc:sldChg>
      <pc:sldChg chg="add del">
        <pc:chgData name="Tamang Mahale, Ranjeeta" userId="b9c213eb-a22c-4398-8f62-b45547c5aea4" providerId="ADAL" clId="{18393435-7946-40EC-AD12-85B1E9C3CA0B}" dt="2023-10-13T09:33:51.492" v="147" actId="47"/>
        <pc:sldMkLst>
          <pc:docMk/>
          <pc:sldMk cId="2501917370" sldId="431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2772377318" sldId="433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394989865" sldId="434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1762822930" sldId="436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3866595130" sldId="437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3729312646" sldId="438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4183780888" sldId="439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3913393166" sldId="440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19232389" sldId="441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622750418" sldId="442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1959504839" sldId="443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1866531500" sldId="446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1122281766" sldId="447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124657656" sldId="448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2187325749" sldId="449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3168406536" sldId="450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3661548978" sldId="451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1735532664" sldId="452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364290657" sldId="453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101171717" sldId="454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1001525519" sldId="455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1334058627" sldId="456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3104492557" sldId="457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2695985324" sldId="458"/>
        </pc:sldMkLst>
      </pc:sldChg>
      <pc:sldChg chg="add del">
        <pc:chgData name="Tamang Mahale, Ranjeeta" userId="b9c213eb-a22c-4398-8f62-b45547c5aea4" providerId="ADAL" clId="{18393435-7946-40EC-AD12-85B1E9C3CA0B}" dt="2023-10-13T09:32:45.617" v="124" actId="47"/>
        <pc:sldMkLst>
          <pc:docMk/>
          <pc:sldMk cId="1068547370" sldId="459"/>
        </pc:sldMkLst>
      </pc:sldChg>
      <pc:sldChg chg="addSp delSp modSp new add del mod ord">
        <pc:chgData name="Tamang Mahale, Ranjeeta" userId="b9c213eb-a22c-4398-8f62-b45547c5aea4" providerId="ADAL" clId="{18393435-7946-40EC-AD12-85B1E9C3CA0B}" dt="2023-10-13T09:34:46.262" v="154"/>
        <pc:sldMkLst>
          <pc:docMk/>
          <pc:sldMk cId="2269603456" sldId="460"/>
        </pc:sldMkLst>
        <pc:spChg chg="del">
          <ac:chgData name="Tamang Mahale, Ranjeeta" userId="b9c213eb-a22c-4398-8f62-b45547c5aea4" providerId="ADAL" clId="{18393435-7946-40EC-AD12-85B1E9C3CA0B}" dt="2023-10-13T09:28:30.763" v="1" actId="478"/>
          <ac:spMkLst>
            <pc:docMk/>
            <pc:sldMk cId="2269603456" sldId="460"/>
            <ac:spMk id="2" creationId="{463D5264-1E6F-445E-3A18-5EE29CA2FDA1}"/>
          </ac:spMkLst>
        </pc:spChg>
        <pc:spChg chg="del">
          <ac:chgData name="Tamang Mahale, Ranjeeta" userId="b9c213eb-a22c-4398-8f62-b45547c5aea4" providerId="ADAL" clId="{18393435-7946-40EC-AD12-85B1E9C3CA0B}" dt="2023-10-13T09:28:30.763" v="1" actId="478"/>
          <ac:spMkLst>
            <pc:docMk/>
            <pc:sldMk cId="2269603456" sldId="460"/>
            <ac:spMk id="3" creationId="{AAAE3334-3CE6-AB9E-8BA1-265361B302A0}"/>
          </ac:spMkLst>
        </pc:spChg>
        <pc:spChg chg="del">
          <ac:chgData name="Tamang Mahale, Ranjeeta" userId="b9c213eb-a22c-4398-8f62-b45547c5aea4" providerId="ADAL" clId="{18393435-7946-40EC-AD12-85B1E9C3CA0B}" dt="2023-10-13T09:28:30.763" v="1" actId="478"/>
          <ac:spMkLst>
            <pc:docMk/>
            <pc:sldMk cId="2269603456" sldId="460"/>
            <ac:spMk id="4" creationId="{4441E41A-A1F3-7254-B736-BA610DB9FD7C}"/>
          </ac:spMkLst>
        </pc:spChg>
        <pc:spChg chg="add mod">
          <ac:chgData name="Tamang Mahale, Ranjeeta" userId="b9c213eb-a22c-4398-8f62-b45547c5aea4" providerId="ADAL" clId="{18393435-7946-40EC-AD12-85B1E9C3CA0B}" dt="2023-10-13T09:34:01.707" v="148"/>
          <ac:spMkLst>
            <pc:docMk/>
            <pc:sldMk cId="2269603456" sldId="460"/>
            <ac:spMk id="5" creationId="{36A90541-E694-1BE7-3D93-0D895A761F97}"/>
          </ac:spMkLst>
        </pc:spChg>
        <pc:spChg chg="add mod">
          <ac:chgData name="Tamang Mahale, Ranjeeta" userId="b9c213eb-a22c-4398-8f62-b45547c5aea4" providerId="ADAL" clId="{18393435-7946-40EC-AD12-85B1E9C3CA0B}" dt="2023-10-13T09:29:52.329" v="54" actId="6549"/>
          <ac:spMkLst>
            <pc:docMk/>
            <pc:sldMk cId="2269603456" sldId="460"/>
            <ac:spMk id="7" creationId="{7A923622-72CE-8A48-B3B0-B08C2BA2FCD0}"/>
          </ac:spMkLst>
        </pc:spChg>
        <pc:picChg chg="add mod">
          <ac:chgData name="Tamang Mahale, Ranjeeta" userId="b9c213eb-a22c-4398-8f62-b45547c5aea4" providerId="ADAL" clId="{18393435-7946-40EC-AD12-85B1E9C3CA0B}" dt="2023-10-13T09:29:28.689" v="37"/>
          <ac:picMkLst>
            <pc:docMk/>
            <pc:sldMk cId="2269603456" sldId="460"/>
            <ac:picMk id="6" creationId="{57E2D89D-FDCC-A430-DB77-8C6938046294}"/>
          </ac:picMkLst>
        </pc:picChg>
      </pc:sldChg>
      <pc:sldChg chg="addSp delSp modSp new add del mod">
        <pc:chgData name="Tamang Mahale, Ranjeeta" userId="b9c213eb-a22c-4398-8f62-b45547c5aea4" providerId="ADAL" clId="{18393435-7946-40EC-AD12-85B1E9C3CA0B}" dt="2023-10-13T09:34:13.458" v="149"/>
        <pc:sldMkLst>
          <pc:docMk/>
          <pc:sldMk cId="3854835032" sldId="461"/>
        </pc:sldMkLst>
        <pc:spChg chg="del">
          <ac:chgData name="Tamang Mahale, Ranjeeta" userId="b9c213eb-a22c-4398-8f62-b45547c5aea4" providerId="ADAL" clId="{18393435-7946-40EC-AD12-85B1E9C3CA0B}" dt="2023-10-13T09:31:18.938" v="109" actId="478"/>
          <ac:spMkLst>
            <pc:docMk/>
            <pc:sldMk cId="3854835032" sldId="461"/>
            <ac:spMk id="2" creationId="{7AB91803-B63B-042E-877C-24226C32656E}"/>
          </ac:spMkLst>
        </pc:spChg>
        <pc:spChg chg="del">
          <ac:chgData name="Tamang Mahale, Ranjeeta" userId="b9c213eb-a22c-4398-8f62-b45547c5aea4" providerId="ADAL" clId="{18393435-7946-40EC-AD12-85B1E9C3CA0B}" dt="2023-10-13T09:31:18.938" v="109" actId="478"/>
          <ac:spMkLst>
            <pc:docMk/>
            <pc:sldMk cId="3854835032" sldId="461"/>
            <ac:spMk id="3" creationId="{992AAEB4-C48C-8591-ECA1-9555612E78B7}"/>
          </ac:spMkLst>
        </pc:spChg>
        <pc:spChg chg="del">
          <ac:chgData name="Tamang Mahale, Ranjeeta" userId="b9c213eb-a22c-4398-8f62-b45547c5aea4" providerId="ADAL" clId="{18393435-7946-40EC-AD12-85B1E9C3CA0B}" dt="2023-10-13T09:31:18.938" v="109" actId="478"/>
          <ac:spMkLst>
            <pc:docMk/>
            <pc:sldMk cId="3854835032" sldId="461"/>
            <ac:spMk id="4" creationId="{E0463C9B-8894-FE6B-4B97-CAE6BA968A6E}"/>
          </ac:spMkLst>
        </pc:spChg>
        <pc:spChg chg="add mod">
          <ac:chgData name="Tamang Mahale, Ranjeeta" userId="b9c213eb-a22c-4398-8f62-b45547c5aea4" providerId="ADAL" clId="{18393435-7946-40EC-AD12-85B1E9C3CA0B}" dt="2023-10-13T09:33:26.145" v="143" actId="20577"/>
          <ac:spMkLst>
            <pc:docMk/>
            <pc:sldMk cId="3854835032" sldId="461"/>
            <ac:spMk id="6" creationId="{0A375C38-9516-1ADD-42E9-3DBA74EEC893}"/>
          </ac:spMkLst>
        </pc:spChg>
        <pc:spChg chg="add mod">
          <ac:chgData name="Tamang Mahale, Ranjeeta" userId="b9c213eb-a22c-4398-8f62-b45547c5aea4" providerId="ADAL" clId="{18393435-7946-40EC-AD12-85B1E9C3CA0B}" dt="2023-10-13T09:34:13.458" v="149"/>
          <ac:spMkLst>
            <pc:docMk/>
            <pc:sldMk cId="3854835032" sldId="461"/>
            <ac:spMk id="7" creationId="{BDAFC43C-B28A-3DAE-FC62-23A2D3C0D638}"/>
          </ac:spMkLst>
        </pc:spChg>
        <pc:picChg chg="add mod">
          <ac:chgData name="Tamang Mahale, Ranjeeta" userId="b9c213eb-a22c-4398-8f62-b45547c5aea4" providerId="ADAL" clId="{18393435-7946-40EC-AD12-85B1E9C3CA0B}" dt="2023-10-13T09:31:19.806" v="110"/>
          <ac:picMkLst>
            <pc:docMk/>
            <pc:sldMk cId="3854835032" sldId="461"/>
            <ac:picMk id="5" creationId="{925512A0-7BE9-532A-911D-97752B3EC16A}"/>
          </ac:picMkLst>
        </pc:picChg>
      </pc:sldChg>
      <pc:sldChg chg="addSp delSp modSp add del mod ord">
        <pc:chgData name="Tamang Mahale, Ranjeeta" userId="b9c213eb-a22c-4398-8f62-b45547c5aea4" providerId="ADAL" clId="{18393435-7946-40EC-AD12-85B1E9C3CA0B}" dt="2023-10-13T09:34:46.262" v="154"/>
        <pc:sldMkLst>
          <pc:docMk/>
          <pc:sldMk cId="1925135496" sldId="462"/>
        </pc:sldMkLst>
        <pc:spChg chg="add mod">
          <ac:chgData name="Tamang Mahale, Ranjeeta" userId="b9c213eb-a22c-4398-8f62-b45547c5aea4" providerId="ADAL" clId="{18393435-7946-40EC-AD12-85B1E9C3CA0B}" dt="2023-10-13T09:33:15.662" v="138" actId="20577"/>
          <ac:spMkLst>
            <pc:docMk/>
            <pc:sldMk cId="1925135496" sldId="462"/>
            <ac:spMk id="2" creationId="{03228451-451D-AD87-6893-506C8573EDDB}"/>
          </ac:spMkLst>
        </pc:spChg>
        <pc:spChg chg="add mod">
          <ac:chgData name="Tamang Mahale, Ranjeeta" userId="b9c213eb-a22c-4398-8f62-b45547c5aea4" providerId="ADAL" clId="{18393435-7946-40EC-AD12-85B1E9C3CA0B}" dt="2023-10-13T09:30:45.917" v="108" actId="20577"/>
          <ac:spMkLst>
            <pc:docMk/>
            <pc:sldMk cId="1925135496" sldId="462"/>
            <ac:spMk id="3" creationId="{577969C7-7C83-0712-3B58-F9B9D4AC5199}"/>
          </ac:spMkLst>
        </pc:spChg>
        <pc:spChg chg="del">
          <ac:chgData name="Tamang Mahale, Ranjeeta" userId="b9c213eb-a22c-4398-8f62-b45547c5aea4" providerId="ADAL" clId="{18393435-7946-40EC-AD12-85B1E9C3CA0B}" dt="2023-10-13T09:30:20.113" v="56" actId="478"/>
          <ac:spMkLst>
            <pc:docMk/>
            <pc:sldMk cId="1925135496" sldId="462"/>
            <ac:spMk id="5" creationId="{36A90541-E694-1BE7-3D93-0D895A761F97}"/>
          </ac:spMkLst>
        </pc:spChg>
        <pc:spChg chg="del">
          <ac:chgData name="Tamang Mahale, Ranjeeta" userId="b9c213eb-a22c-4398-8f62-b45547c5aea4" providerId="ADAL" clId="{18393435-7946-40EC-AD12-85B1E9C3CA0B}" dt="2023-10-13T09:30:20.113" v="56" actId="478"/>
          <ac:spMkLst>
            <pc:docMk/>
            <pc:sldMk cId="1925135496" sldId="462"/>
            <ac:spMk id="7" creationId="{7A923622-72CE-8A48-B3B0-B08C2BA2FCD0}"/>
          </ac:spMkLst>
        </pc:spChg>
        <pc:picChg chg="add mod">
          <ac:chgData name="Tamang Mahale, Ranjeeta" userId="b9c213eb-a22c-4398-8f62-b45547c5aea4" providerId="ADAL" clId="{18393435-7946-40EC-AD12-85B1E9C3CA0B}" dt="2023-10-13T09:30:20.670" v="57"/>
          <ac:picMkLst>
            <pc:docMk/>
            <pc:sldMk cId="1925135496" sldId="462"/>
            <ac:picMk id="4" creationId="{45982D65-01E8-FAC5-C2CA-256FCDC97975}"/>
          </ac:picMkLst>
        </pc:picChg>
        <pc:picChg chg="del">
          <ac:chgData name="Tamang Mahale, Ranjeeta" userId="b9c213eb-a22c-4398-8f62-b45547c5aea4" providerId="ADAL" clId="{18393435-7946-40EC-AD12-85B1E9C3CA0B}" dt="2023-10-13T09:30:20.113" v="56" actId="478"/>
          <ac:picMkLst>
            <pc:docMk/>
            <pc:sldMk cId="1925135496" sldId="462"/>
            <ac:picMk id="6" creationId="{57E2D89D-FDCC-A430-DB77-8C6938046294}"/>
          </ac:picMkLst>
        </pc:picChg>
      </pc:sldChg>
      <pc:sldChg chg="addSp delSp modSp new add del mod">
        <pc:chgData name="Tamang Mahale, Ranjeeta" userId="b9c213eb-a22c-4398-8f62-b45547c5aea4" providerId="ADAL" clId="{18393435-7946-40EC-AD12-85B1E9C3CA0B}" dt="2023-10-13T09:34:22.486" v="150"/>
        <pc:sldMkLst>
          <pc:docMk/>
          <pc:sldMk cId="814216169" sldId="463"/>
        </pc:sldMkLst>
        <pc:spChg chg="del">
          <ac:chgData name="Tamang Mahale, Ranjeeta" userId="b9c213eb-a22c-4398-8f62-b45547c5aea4" providerId="ADAL" clId="{18393435-7946-40EC-AD12-85B1E9C3CA0B}" dt="2023-10-13T09:31:39.741" v="112" actId="478"/>
          <ac:spMkLst>
            <pc:docMk/>
            <pc:sldMk cId="814216169" sldId="463"/>
            <ac:spMk id="2" creationId="{FAD4D822-D2EC-F583-9407-FF236CB63065}"/>
          </ac:spMkLst>
        </pc:spChg>
        <pc:spChg chg="del">
          <ac:chgData name="Tamang Mahale, Ranjeeta" userId="b9c213eb-a22c-4398-8f62-b45547c5aea4" providerId="ADAL" clId="{18393435-7946-40EC-AD12-85B1E9C3CA0B}" dt="2023-10-13T09:31:39.741" v="112" actId="478"/>
          <ac:spMkLst>
            <pc:docMk/>
            <pc:sldMk cId="814216169" sldId="463"/>
            <ac:spMk id="3" creationId="{8235B19E-63B7-B246-4428-D4352A945CA6}"/>
          </ac:spMkLst>
        </pc:spChg>
        <pc:spChg chg="del">
          <ac:chgData name="Tamang Mahale, Ranjeeta" userId="b9c213eb-a22c-4398-8f62-b45547c5aea4" providerId="ADAL" clId="{18393435-7946-40EC-AD12-85B1E9C3CA0B}" dt="2023-10-13T09:31:39.741" v="112" actId="478"/>
          <ac:spMkLst>
            <pc:docMk/>
            <pc:sldMk cId="814216169" sldId="463"/>
            <ac:spMk id="4" creationId="{205F0AE8-3ACE-502A-A7C7-6A4259886896}"/>
          </ac:spMkLst>
        </pc:spChg>
        <pc:spChg chg="add mod">
          <ac:chgData name="Tamang Mahale, Ranjeeta" userId="b9c213eb-a22c-4398-8f62-b45547c5aea4" providerId="ADAL" clId="{18393435-7946-40EC-AD12-85B1E9C3CA0B}" dt="2023-10-13T09:33:35.338" v="144"/>
          <ac:spMkLst>
            <pc:docMk/>
            <pc:sldMk cId="814216169" sldId="463"/>
            <ac:spMk id="5" creationId="{50EE3B77-8B83-2BAF-966A-6BE7AC8F4EED}"/>
          </ac:spMkLst>
        </pc:spChg>
        <pc:spChg chg="add mod">
          <ac:chgData name="Tamang Mahale, Ranjeeta" userId="b9c213eb-a22c-4398-8f62-b45547c5aea4" providerId="ADAL" clId="{18393435-7946-40EC-AD12-85B1E9C3CA0B}" dt="2023-10-13T09:34:22.486" v="150"/>
          <ac:spMkLst>
            <pc:docMk/>
            <pc:sldMk cId="814216169" sldId="463"/>
            <ac:spMk id="6" creationId="{CE40CDEB-4569-EE57-EB92-1929ADAC54B3}"/>
          </ac:spMkLst>
        </pc:spChg>
        <pc:picChg chg="add mod">
          <ac:chgData name="Tamang Mahale, Ranjeeta" userId="b9c213eb-a22c-4398-8f62-b45547c5aea4" providerId="ADAL" clId="{18393435-7946-40EC-AD12-85B1E9C3CA0B}" dt="2023-10-13T09:31:40.353" v="113"/>
          <ac:picMkLst>
            <pc:docMk/>
            <pc:sldMk cId="814216169" sldId="463"/>
            <ac:picMk id="7" creationId="{5F0DC0DB-2CBE-F76D-A047-D372F0680905}"/>
          </ac:picMkLst>
        </pc:picChg>
      </pc:sldChg>
      <pc:sldChg chg="addSp delSp modSp add del mod">
        <pc:chgData name="Tamang Mahale, Ranjeeta" userId="b9c213eb-a22c-4398-8f62-b45547c5aea4" providerId="ADAL" clId="{18393435-7946-40EC-AD12-85B1E9C3CA0B}" dt="2023-10-13T09:34:28.487" v="151"/>
        <pc:sldMkLst>
          <pc:docMk/>
          <pc:sldMk cId="3990696487" sldId="464"/>
        </pc:sldMkLst>
        <pc:spChg chg="add del mod">
          <ac:chgData name="Tamang Mahale, Ranjeeta" userId="b9c213eb-a22c-4398-8f62-b45547c5aea4" providerId="ADAL" clId="{18393435-7946-40EC-AD12-85B1E9C3CA0B}" dt="2023-10-13T09:32:06.171" v="118" actId="478"/>
          <ac:spMkLst>
            <pc:docMk/>
            <pc:sldMk cId="3990696487" sldId="464"/>
            <ac:spMk id="2" creationId="{992ACB4F-3417-FBF9-E2EC-AAD56A01B03A}"/>
          </ac:spMkLst>
        </pc:spChg>
        <pc:spChg chg="add del mod">
          <ac:chgData name="Tamang Mahale, Ranjeeta" userId="b9c213eb-a22c-4398-8f62-b45547c5aea4" providerId="ADAL" clId="{18393435-7946-40EC-AD12-85B1E9C3CA0B}" dt="2023-10-13T09:32:06.171" v="118" actId="478"/>
          <ac:spMkLst>
            <pc:docMk/>
            <pc:sldMk cId="3990696487" sldId="464"/>
            <ac:spMk id="3" creationId="{C6EEB52F-62A6-65A6-6B6C-06AB7B420C0A}"/>
          </ac:spMkLst>
        </pc:spChg>
        <pc:spChg chg="add del mod">
          <ac:chgData name="Tamang Mahale, Ranjeeta" userId="b9c213eb-a22c-4398-8f62-b45547c5aea4" providerId="ADAL" clId="{18393435-7946-40EC-AD12-85B1E9C3CA0B}" dt="2023-10-13T09:32:06.171" v="118" actId="478"/>
          <ac:spMkLst>
            <pc:docMk/>
            <pc:sldMk cId="3990696487" sldId="464"/>
            <ac:spMk id="4" creationId="{C113F531-BE07-E0A5-1BDC-673ADAD5F23C}"/>
          </ac:spMkLst>
        </pc:spChg>
        <pc:spChg chg="del">
          <ac:chgData name="Tamang Mahale, Ranjeeta" userId="b9c213eb-a22c-4398-8f62-b45547c5aea4" providerId="ADAL" clId="{18393435-7946-40EC-AD12-85B1E9C3CA0B}" dt="2023-10-13T09:31:53.613" v="115" actId="478"/>
          <ac:spMkLst>
            <pc:docMk/>
            <pc:sldMk cId="3990696487" sldId="464"/>
            <ac:spMk id="5" creationId="{50EE3B77-8B83-2BAF-966A-6BE7AC8F4EED}"/>
          </ac:spMkLst>
        </pc:spChg>
        <pc:spChg chg="del">
          <ac:chgData name="Tamang Mahale, Ranjeeta" userId="b9c213eb-a22c-4398-8f62-b45547c5aea4" providerId="ADAL" clId="{18393435-7946-40EC-AD12-85B1E9C3CA0B}" dt="2023-10-13T09:31:53.613" v="115" actId="478"/>
          <ac:spMkLst>
            <pc:docMk/>
            <pc:sldMk cId="3990696487" sldId="464"/>
            <ac:spMk id="6" creationId="{CE40CDEB-4569-EE57-EB92-1929ADAC54B3}"/>
          </ac:spMkLst>
        </pc:spChg>
        <pc:spChg chg="add del mod">
          <ac:chgData name="Tamang Mahale, Ranjeeta" userId="b9c213eb-a22c-4398-8f62-b45547c5aea4" providerId="ADAL" clId="{18393435-7946-40EC-AD12-85B1E9C3CA0B}" dt="2023-10-13T09:32:03.034" v="117" actId="478"/>
          <ac:spMkLst>
            <pc:docMk/>
            <pc:sldMk cId="3990696487" sldId="464"/>
            <ac:spMk id="8" creationId="{5C8C7501-5BDE-E088-C940-200A07C58D8E}"/>
          </ac:spMkLst>
        </pc:spChg>
        <pc:spChg chg="add mod">
          <ac:chgData name="Tamang Mahale, Ranjeeta" userId="b9c213eb-a22c-4398-8f62-b45547c5aea4" providerId="ADAL" clId="{18393435-7946-40EC-AD12-85B1E9C3CA0B}" dt="2023-10-13T09:33:41.880" v="145"/>
          <ac:spMkLst>
            <pc:docMk/>
            <pc:sldMk cId="3990696487" sldId="464"/>
            <ac:spMk id="9" creationId="{014BE38F-C57A-C97A-E144-84FFF1A782E2}"/>
          </ac:spMkLst>
        </pc:spChg>
        <pc:spChg chg="add mod">
          <ac:chgData name="Tamang Mahale, Ranjeeta" userId="b9c213eb-a22c-4398-8f62-b45547c5aea4" providerId="ADAL" clId="{18393435-7946-40EC-AD12-85B1E9C3CA0B}" dt="2023-10-13T09:34:28.487" v="151"/>
          <ac:spMkLst>
            <pc:docMk/>
            <pc:sldMk cId="3990696487" sldId="464"/>
            <ac:spMk id="10" creationId="{ADE49A1A-C295-BB98-3D00-D6C881048EB5}"/>
          </ac:spMkLst>
        </pc:spChg>
        <pc:picChg chg="del">
          <ac:chgData name="Tamang Mahale, Ranjeeta" userId="b9c213eb-a22c-4398-8f62-b45547c5aea4" providerId="ADAL" clId="{18393435-7946-40EC-AD12-85B1E9C3CA0B}" dt="2023-10-13T09:31:53.613" v="115" actId="478"/>
          <ac:picMkLst>
            <pc:docMk/>
            <pc:sldMk cId="3990696487" sldId="464"/>
            <ac:picMk id="7" creationId="{5F0DC0DB-2CBE-F76D-A047-D372F0680905}"/>
          </ac:picMkLst>
        </pc:picChg>
        <pc:picChg chg="add mod">
          <ac:chgData name="Tamang Mahale, Ranjeeta" userId="b9c213eb-a22c-4398-8f62-b45547c5aea4" providerId="ADAL" clId="{18393435-7946-40EC-AD12-85B1E9C3CA0B}" dt="2023-10-13T09:31:54.481" v="116"/>
          <ac:picMkLst>
            <pc:docMk/>
            <pc:sldMk cId="3990696487" sldId="464"/>
            <ac:picMk id="11" creationId="{881071BB-D730-79D1-D2FC-BCDDB89EA10A}"/>
          </ac:picMkLst>
        </pc:picChg>
      </pc:sldChg>
      <pc:sldChg chg="addSp delSp modSp add del mod">
        <pc:chgData name="Tamang Mahale, Ranjeeta" userId="b9c213eb-a22c-4398-8f62-b45547c5aea4" providerId="ADAL" clId="{18393435-7946-40EC-AD12-85B1E9C3CA0B}" dt="2023-10-13T09:34:34.968" v="152"/>
        <pc:sldMkLst>
          <pc:docMk/>
          <pc:sldMk cId="999248258" sldId="465"/>
        </pc:sldMkLst>
        <pc:spChg chg="add mod">
          <ac:chgData name="Tamang Mahale, Ranjeeta" userId="b9c213eb-a22c-4398-8f62-b45547c5aea4" providerId="ADAL" clId="{18393435-7946-40EC-AD12-85B1E9C3CA0B}" dt="2023-10-13T09:33:46.907" v="146"/>
          <ac:spMkLst>
            <pc:docMk/>
            <pc:sldMk cId="999248258" sldId="465"/>
            <ac:spMk id="2" creationId="{963014E0-EFEB-5E1E-FA26-FBD492BFCE75}"/>
          </ac:spMkLst>
        </pc:spChg>
        <pc:spChg chg="add mod">
          <ac:chgData name="Tamang Mahale, Ranjeeta" userId="b9c213eb-a22c-4398-8f62-b45547c5aea4" providerId="ADAL" clId="{18393435-7946-40EC-AD12-85B1E9C3CA0B}" dt="2023-10-13T09:34:34.968" v="152"/>
          <ac:spMkLst>
            <pc:docMk/>
            <pc:sldMk cId="999248258" sldId="465"/>
            <ac:spMk id="3" creationId="{D2C52AE7-7BA1-4451-19C8-B1BBC1B9151E}"/>
          </ac:spMkLst>
        </pc:spChg>
        <pc:spChg chg="del">
          <ac:chgData name="Tamang Mahale, Ranjeeta" userId="b9c213eb-a22c-4398-8f62-b45547c5aea4" providerId="ADAL" clId="{18393435-7946-40EC-AD12-85B1E9C3CA0B}" dt="2023-10-13T09:32:31.210" v="122" actId="478"/>
          <ac:spMkLst>
            <pc:docMk/>
            <pc:sldMk cId="999248258" sldId="465"/>
            <ac:spMk id="9" creationId="{014BE38F-C57A-C97A-E144-84FFF1A782E2}"/>
          </ac:spMkLst>
        </pc:spChg>
        <pc:spChg chg="del">
          <ac:chgData name="Tamang Mahale, Ranjeeta" userId="b9c213eb-a22c-4398-8f62-b45547c5aea4" providerId="ADAL" clId="{18393435-7946-40EC-AD12-85B1E9C3CA0B}" dt="2023-10-13T09:32:31.210" v="122" actId="478"/>
          <ac:spMkLst>
            <pc:docMk/>
            <pc:sldMk cId="999248258" sldId="465"/>
            <ac:spMk id="10" creationId="{ADE49A1A-C295-BB98-3D00-D6C881048EB5}"/>
          </ac:spMkLst>
        </pc:spChg>
        <pc:picChg chg="add mod">
          <ac:chgData name="Tamang Mahale, Ranjeeta" userId="b9c213eb-a22c-4398-8f62-b45547c5aea4" providerId="ADAL" clId="{18393435-7946-40EC-AD12-85B1E9C3CA0B}" dt="2023-10-13T09:32:31.776" v="123"/>
          <ac:picMkLst>
            <pc:docMk/>
            <pc:sldMk cId="999248258" sldId="465"/>
            <ac:picMk id="4" creationId="{EA0B431A-E13C-EBD7-6B21-BCF1AEE6655E}"/>
          </ac:picMkLst>
        </pc:picChg>
        <pc:picChg chg="del">
          <ac:chgData name="Tamang Mahale, Ranjeeta" userId="b9c213eb-a22c-4398-8f62-b45547c5aea4" providerId="ADAL" clId="{18393435-7946-40EC-AD12-85B1E9C3CA0B}" dt="2023-10-13T09:32:31.210" v="122" actId="478"/>
          <ac:picMkLst>
            <pc:docMk/>
            <pc:sldMk cId="999248258" sldId="465"/>
            <ac:picMk id="11" creationId="{881071BB-D730-79D1-D2FC-BCDDB89EA10A}"/>
          </ac:picMkLst>
        </pc:picChg>
      </pc:sldChg>
      <pc:sldMasterChg chg="addSp modSp mod modSldLayout">
        <pc:chgData name="Tamang Mahale, Ranjeeta" userId="b9c213eb-a22c-4398-8f62-b45547c5aea4" providerId="ADAL" clId="{18393435-7946-40EC-AD12-85B1E9C3CA0B}" dt="2023-10-13T09:29:15.446" v="36" actId="478"/>
        <pc:sldMasterMkLst>
          <pc:docMk/>
          <pc:sldMasterMk cId="227825024" sldId="2147483660"/>
        </pc:sldMasterMkLst>
        <pc:spChg chg="add mod ord modVis">
          <ac:chgData name="Tamang Mahale, Ranjeeta" userId="b9c213eb-a22c-4398-8f62-b45547c5aea4" providerId="ADAL" clId="{18393435-7946-40EC-AD12-85B1E9C3CA0B}" dt="2023-10-13T09:28:37.041" v="32"/>
          <ac:spMkLst>
            <pc:docMk/>
            <pc:sldMasterMk cId="227825024" sldId="2147483660"/>
            <ac:spMk id="6" creationId="{6C131991-5B46-5A4A-1988-19949E6F04D3}"/>
          </ac:spMkLst>
        </pc:spChg>
        <pc:sldLayoutChg chg="delSp mod">
          <pc:chgData name="Tamang Mahale, Ranjeeta" userId="b9c213eb-a22c-4398-8f62-b45547c5aea4" providerId="ADAL" clId="{18393435-7946-40EC-AD12-85B1E9C3CA0B}" dt="2023-10-13T09:29:15.446" v="36" actId="478"/>
          <pc:sldLayoutMkLst>
            <pc:docMk/>
            <pc:sldMasterMk cId="227825024" sldId="2147483660"/>
            <pc:sldLayoutMk cId="51369809" sldId="2147483667"/>
          </pc:sldLayoutMkLst>
          <pc:picChg chg="del">
            <ac:chgData name="Tamang Mahale, Ranjeeta" userId="b9c213eb-a22c-4398-8f62-b45547c5aea4" providerId="ADAL" clId="{18393435-7946-40EC-AD12-85B1E9C3CA0B}" dt="2023-10-13T09:28:53.487" v="34" actId="478"/>
            <ac:picMkLst>
              <pc:docMk/>
              <pc:sldMasterMk cId="227825024" sldId="2147483660"/>
              <pc:sldLayoutMk cId="51369809" sldId="2147483667"/>
              <ac:picMk id="9" creationId="{00000000-0000-0000-0000-000000000000}"/>
            </ac:picMkLst>
          </pc:picChg>
          <pc:picChg chg="del">
            <ac:chgData name="Tamang Mahale, Ranjeeta" userId="b9c213eb-a22c-4398-8f62-b45547c5aea4" providerId="ADAL" clId="{18393435-7946-40EC-AD12-85B1E9C3CA0B}" dt="2023-10-13T09:28:49.419" v="33" actId="478"/>
            <ac:picMkLst>
              <pc:docMk/>
              <pc:sldMasterMk cId="227825024" sldId="2147483660"/>
              <pc:sldLayoutMk cId="51369809" sldId="2147483667"/>
              <ac:picMk id="83" creationId="{F71AB5E8-CE1E-4057-AD01-DFC97C61376C}"/>
            </ac:picMkLst>
          </pc:picChg>
          <pc:cxnChg chg="del">
            <ac:chgData name="Tamang Mahale, Ranjeeta" userId="b9c213eb-a22c-4398-8f62-b45547c5aea4" providerId="ADAL" clId="{18393435-7946-40EC-AD12-85B1E9C3CA0B}" dt="2023-10-13T09:29:15.446" v="36" actId="478"/>
            <ac:cxnSpMkLst>
              <pc:docMk/>
              <pc:sldMasterMk cId="227825024" sldId="2147483660"/>
              <pc:sldLayoutMk cId="51369809" sldId="2147483667"/>
              <ac:cxnSpMk id="6" creationId="{0D50C634-EA7B-4642-A28D-17882FDA4225}"/>
            </ac:cxnSpMkLst>
          </pc:cxn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6693B5D-30EB-422A-AC74-12D4EC14ED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88B998-05F0-4C76-965D-2E440149BD1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3095CE-16DD-4E6E-8B83-5CEFA96BC438}" type="datetimeFigureOut">
              <a:rPr lang="en-AU" smtClean="0"/>
              <a:t>13/10/2023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87B6D-19B7-4A3B-A313-59FBD4980F2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56E6AA-7F11-424B-8F8F-981791F20EE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AB097A-1FB9-45A1-A730-36DFF1FC07D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10198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707A45-4EFB-491F-9CB5-FD9B269E5B8A}" type="datetimeFigureOut">
              <a:rPr lang="en-AU" smtClean="0"/>
              <a:t>4/10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D663AC-25B5-4465-9106-3D200534972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77508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9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jp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1719" y="13990"/>
            <a:ext cx="2381216" cy="11869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3265830"/>
            <a:ext cx="5638800" cy="1168092"/>
          </a:xfrm>
        </p:spPr>
        <p:txBody>
          <a:bodyPr anchor="b">
            <a:noAutofit/>
          </a:bodyPr>
          <a:lstStyle>
            <a:lvl1pPr algn="l">
              <a:defRPr sz="4799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0" y="4515810"/>
            <a:ext cx="5638800" cy="828982"/>
          </a:xfrm>
        </p:spPr>
        <p:txBody>
          <a:bodyPr>
            <a:normAutofit/>
          </a:bodyPr>
          <a:lstStyle>
            <a:lvl1pPr marL="0" indent="0" algn="l">
              <a:buNone/>
              <a:defRPr sz="2399">
                <a:solidFill>
                  <a:srgbClr val="898989"/>
                </a:solidFill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6191537" y="4433922"/>
            <a:ext cx="5486400" cy="8072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3781" y="5785527"/>
            <a:ext cx="2262775" cy="9931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6819900"/>
            <a:ext cx="12195176" cy="45719"/>
          </a:xfrm>
          <a:prstGeom prst="rect">
            <a:avLst/>
          </a:prstGeom>
        </p:spPr>
      </p:pic>
      <p:pic>
        <p:nvPicPr>
          <p:cNvPr id="51" name="bjClassifierImageBottom">
            <a:extLst>
              <a:ext uri="{FF2B5EF4-FFF2-40B4-BE49-F238E27FC236}">
                <a16:creationId xmlns:a16="http://schemas.microsoft.com/office/drawing/2014/main" id="{A72578DF-1AB3-4F43-843F-568BF1B56B9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3517" y="6468336"/>
            <a:ext cx="808000" cy="326164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0A50D1DB-9A71-4BE8-8B3A-B7310FE04D4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5303" y="5865606"/>
            <a:ext cx="1397733" cy="896296"/>
          </a:xfrm>
          <a:prstGeom prst="rect">
            <a:avLst/>
          </a:prstGeom>
        </p:spPr>
      </p:pic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5554D84B-9A3E-4632-A5A0-74BD3E51CC6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6702" y="5835694"/>
            <a:ext cx="2432304" cy="90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7388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1CA4C18-4E46-43FB-B559-EBB393B8C7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89" t="-1" r="1170" b="9444"/>
          <a:stretch/>
        </p:blipFill>
        <p:spPr>
          <a:xfrm>
            <a:off x="-15855" y="-1063"/>
            <a:ext cx="12326875" cy="6858001"/>
          </a:xfrm>
          <a:prstGeom prst="rect">
            <a:avLst/>
          </a:prstGeom>
        </p:spPr>
      </p:pic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E52DB81B-FB89-40C3-8A25-06B424B7B5A2}"/>
              </a:ext>
            </a:extLst>
          </p:cNvPr>
          <p:cNvSpPr/>
          <p:nvPr userDrawn="1"/>
        </p:nvSpPr>
        <p:spPr>
          <a:xfrm>
            <a:off x="-1" y="0"/>
            <a:ext cx="6057821" cy="6858000"/>
          </a:xfrm>
          <a:prstGeom prst="flowChartProcess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55000">
                <a:schemeClr val="accent1">
                  <a:lumMod val="75000"/>
                  <a:alpha val="66000"/>
                </a:schemeClr>
              </a:gs>
              <a:gs pos="100000">
                <a:schemeClr val="accent3">
                  <a:lumMod val="50000"/>
                  <a:alpha val="90000"/>
                </a:schemeClr>
              </a:gs>
            </a:gsLst>
            <a:lin ang="10800000" scaled="0"/>
          </a:gra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kern="600" spc="30" dirty="0" err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505475"/>
            <a:ext cx="4377827" cy="2169037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2776708"/>
            <a:ext cx="4377826" cy="174297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940" y="5096170"/>
            <a:ext cx="1176434" cy="123521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018" y="5068800"/>
            <a:ext cx="1215122" cy="12758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7236" y="5950435"/>
            <a:ext cx="1938561" cy="966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398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77CB181-4BAA-4B76-82F9-1556EECAB6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26566" r="235" b="36258"/>
          <a:stretch/>
        </p:blipFill>
        <p:spPr>
          <a:xfrm>
            <a:off x="-1" y="-1"/>
            <a:ext cx="12192000" cy="6858001"/>
          </a:xfrm>
          <a:prstGeom prst="rect">
            <a:avLst/>
          </a:prstGeom>
        </p:spPr>
      </p:pic>
      <p:sp>
        <p:nvSpPr>
          <p:cNvPr id="16" name="Flowchart: Process 15">
            <a:extLst>
              <a:ext uri="{FF2B5EF4-FFF2-40B4-BE49-F238E27FC236}">
                <a16:creationId xmlns:a16="http://schemas.microsoft.com/office/drawing/2014/main" id="{06FF69A4-B787-4E4C-AFAE-11E4C0F68004}"/>
              </a:ext>
            </a:extLst>
          </p:cNvPr>
          <p:cNvSpPr/>
          <p:nvPr userDrawn="1"/>
        </p:nvSpPr>
        <p:spPr>
          <a:xfrm>
            <a:off x="0" y="0"/>
            <a:ext cx="5153913" cy="6858000"/>
          </a:xfrm>
          <a:prstGeom prst="flowChartProcess">
            <a:avLst/>
          </a:prstGeom>
          <a:solidFill>
            <a:schemeClr val="accent3">
              <a:alpha val="86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kern="600" spc="30" dirty="0" err="1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95" y="5096170"/>
            <a:ext cx="1176434" cy="12352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505475"/>
            <a:ext cx="4377827" cy="2169037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2776708"/>
            <a:ext cx="4377826" cy="174297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7236" y="5950435"/>
            <a:ext cx="1938561" cy="966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2784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2F6AB60A-36AE-4CD2-96F5-705D720BE9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87" t="26566" r="235" b="36011"/>
          <a:stretch/>
        </p:blipFill>
        <p:spPr>
          <a:xfrm>
            <a:off x="-1" y="-1"/>
            <a:ext cx="12192000" cy="6903719"/>
          </a:xfrm>
          <a:prstGeom prst="rect">
            <a:avLst/>
          </a:prstGeom>
        </p:spPr>
      </p:pic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E52DB81B-FB89-40C3-8A25-06B424B7B5A2}"/>
              </a:ext>
            </a:extLst>
          </p:cNvPr>
          <p:cNvSpPr/>
          <p:nvPr userDrawn="1"/>
        </p:nvSpPr>
        <p:spPr>
          <a:xfrm>
            <a:off x="-1" y="0"/>
            <a:ext cx="6057821" cy="6903718"/>
          </a:xfrm>
          <a:prstGeom prst="flowChartProcess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55000">
                <a:schemeClr val="accent1">
                  <a:lumMod val="75000"/>
                  <a:alpha val="66000"/>
                </a:schemeClr>
              </a:gs>
              <a:gs pos="100000">
                <a:schemeClr val="accent3">
                  <a:lumMod val="50000"/>
                  <a:alpha val="90000"/>
                </a:schemeClr>
              </a:gs>
            </a:gsLst>
            <a:lin ang="10800000" scaled="0"/>
          </a:gra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kern="600" spc="30" dirty="0" err="1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505475"/>
            <a:ext cx="4377827" cy="2169037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2776708"/>
            <a:ext cx="4377826" cy="174297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940" y="5096170"/>
            <a:ext cx="1176434" cy="123521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018" y="5068800"/>
            <a:ext cx="1215122" cy="12758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7236" y="5950435"/>
            <a:ext cx="1938561" cy="966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0007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-column w/green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 anchor="t"/>
          <a:lstStyle/>
          <a:p>
            <a:r>
              <a:rPr lang="en-US" dirty="0"/>
              <a:t>&lt;2-column with Green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0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967605" y="6433581"/>
            <a:ext cx="372540" cy="289247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19545" y="1853399"/>
            <a:ext cx="5266313" cy="4290227"/>
          </a:xfrm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600"/>
              </a:spcBef>
              <a:defRPr sz="3200" b="1" cap="all" spc="130">
                <a:solidFill>
                  <a:schemeClr val="accent1"/>
                </a:solidFill>
              </a:defRPr>
            </a:lvl1pPr>
            <a:lvl2pPr marL="220663" indent="-169863">
              <a:lnSpc>
                <a:spcPct val="90000"/>
              </a:lnSpc>
              <a:spcBef>
                <a:spcPts val="300"/>
              </a:spcBef>
              <a:buFont typeface="Arial"/>
              <a:buChar char="•"/>
              <a:defRPr sz="2400">
                <a:solidFill>
                  <a:schemeClr val="accent1"/>
                </a:solidFill>
              </a:defRPr>
            </a:lvl2pPr>
            <a:lvl3pPr marL="423863" indent="-187325">
              <a:lnSpc>
                <a:spcPct val="90000"/>
              </a:lnSpc>
              <a:spcBef>
                <a:spcPts val="100"/>
              </a:spcBef>
              <a:defRPr sz="2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 dirty="0"/>
              <a:t>&lt;Insert large type callout or image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303" y="163737"/>
            <a:ext cx="1294020" cy="135867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6819900"/>
            <a:ext cx="12195176" cy="4571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424" y="5968848"/>
            <a:ext cx="1962154" cy="97805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88DA623-3764-4D23-9FCA-9E3E46847216}"/>
              </a:ext>
            </a:extLst>
          </p:cNvPr>
          <p:cNvCxnSpPr/>
          <p:nvPr userDrawn="1"/>
        </p:nvCxnSpPr>
        <p:spPr>
          <a:xfrm>
            <a:off x="619544" y="1522414"/>
            <a:ext cx="9877395" cy="0"/>
          </a:xfrm>
          <a:prstGeom prst="line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64755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 anchor="t"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0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45" y="1853399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303" y="163737"/>
            <a:ext cx="1294020" cy="135867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967605" y="6433581"/>
            <a:ext cx="372540" cy="289247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6819900"/>
            <a:ext cx="12195176" cy="4571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424" y="5968848"/>
            <a:ext cx="1962154" cy="97805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4006B29-E6DC-4E92-97AD-BC1365873360}"/>
              </a:ext>
            </a:extLst>
          </p:cNvPr>
          <p:cNvCxnSpPr/>
          <p:nvPr userDrawn="1"/>
        </p:nvCxnSpPr>
        <p:spPr>
          <a:xfrm>
            <a:off x="619544" y="1522414"/>
            <a:ext cx="9877395" cy="0"/>
          </a:xfrm>
          <a:prstGeom prst="line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48407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full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 anchor="t"/>
          <a:lstStyle/>
          <a:p>
            <a:r>
              <a:rPr lang="en-US" dirty="0"/>
              <a:t>&lt;Large text full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7633" y="4555076"/>
            <a:ext cx="6241558" cy="1588550"/>
          </a:xfrm>
        </p:spPr>
        <p:txBody>
          <a:bodyPr/>
          <a:lstStyle>
            <a:lvl1pPr>
              <a:lnSpc>
                <a:spcPct val="94000"/>
              </a:lnSpc>
              <a:spcBef>
                <a:spcPts val="1000"/>
              </a:spcBef>
              <a:defRPr sz="2400"/>
            </a:lvl1pPr>
            <a:lvl2pPr>
              <a:lnSpc>
                <a:spcPct val="94000"/>
              </a:lnSpc>
              <a:defRPr sz="2400"/>
            </a:lvl2pPr>
            <a:lvl3pPr>
              <a:lnSpc>
                <a:spcPct val="94000"/>
              </a:lnSpc>
              <a:defRPr sz="24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16641" y="1571359"/>
            <a:ext cx="10052550" cy="2609326"/>
          </a:xfrm>
        </p:spPr>
        <p:txBody>
          <a:bodyPr anchor="b" anchorCtr="0"/>
          <a:lstStyle>
            <a:lvl1pPr>
              <a:lnSpc>
                <a:spcPct val="78000"/>
              </a:lnSpc>
              <a:spcBef>
                <a:spcPts val="2000"/>
              </a:spcBef>
              <a:defRPr sz="5800" cap="all" spc="130">
                <a:solidFill>
                  <a:srgbClr val="00877C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303" y="163737"/>
            <a:ext cx="1294020" cy="135867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967605" y="6433581"/>
            <a:ext cx="372540" cy="289247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6819900"/>
            <a:ext cx="12195176" cy="4571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424" y="5968848"/>
            <a:ext cx="1962154" cy="97805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1BECE14-79C3-4FD3-B264-9226D921A594}"/>
              </a:ext>
            </a:extLst>
          </p:cNvPr>
          <p:cNvCxnSpPr/>
          <p:nvPr userDrawn="1"/>
        </p:nvCxnSpPr>
        <p:spPr>
          <a:xfrm>
            <a:off x="619544" y="1522414"/>
            <a:ext cx="9877395" cy="0"/>
          </a:xfrm>
          <a:prstGeom prst="line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61175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/70 2-column /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 anchor="t"/>
          <a:lstStyle/>
          <a:p>
            <a:r>
              <a:rPr lang="en-US" dirty="0"/>
              <a:t>&lt;30/70 2-column / plotted chart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603" y="1853399"/>
            <a:ext cx="7011431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45" y="1853399"/>
            <a:ext cx="3531039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303" y="163737"/>
            <a:ext cx="1294020" cy="135867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967605" y="6433581"/>
            <a:ext cx="372540" cy="289247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74D97F68-CC38-3C48-B083-3B4A145706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6819900"/>
            <a:ext cx="12195176" cy="4571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424" y="5968848"/>
            <a:ext cx="1962154" cy="97805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3249BB6-7B33-4263-94DE-1CB92EEA6072}"/>
              </a:ext>
            </a:extLst>
          </p:cNvPr>
          <p:cNvCxnSpPr/>
          <p:nvPr userDrawn="1"/>
        </p:nvCxnSpPr>
        <p:spPr>
          <a:xfrm>
            <a:off x="619544" y="1522414"/>
            <a:ext cx="9877395" cy="0"/>
          </a:xfrm>
          <a:prstGeom prst="line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80646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/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6755" y="3514119"/>
            <a:ext cx="7250827" cy="1608668"/>
          </a:xfrm>
        </p:spPr>
        <p:txBody>
          <a:bodyPr/>
          <a:lstStyle>
            <a:lvl1pPr>
              <a:lnSpc>
                <a:spcPct val="78000"/>
              </a:lnSpc>
              <a:defRPr sz="5800" cap="all" spc="13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hank you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6755" y="5483546"/>
            <a:ext cx="5271229" cy="739456"/>
          </a:xfrm>
        </p:spPr>
        <p:txBody>
          <a:bodyPr/>
          <a:lstStyle>
            <a:lvl1pPr>
              <a:defRPr sz="550" kern="50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Insert Proprietary / Legal Language He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152" y="478564"/>
            <a:ext cx="6829726" cy="28385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6819900"/>
            <a:ext cx="12195176" cy="4571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5556" y="5767271"/>
            <a:ext cx="1962154" cy="978053"/>
          </a:xfrm>
          <a:prstGeom prst="rect">
            <a:avLst/>
          </a:prstGeom>
        </p:spPr>
      </p:pic>
      <p:pic>
        <p:nvPicPr>
          <p:cNvPr id="49" name="bjClassifierImageBottom">
            <a:extLst>
              <a:ext uri="{FF2B5EF4-FFF2-40B4-BE49-F238E27FC236}">
                <a16:creationId xmlns:a16="http://schemas.microsoft.com/office/drawing/2014/main" id="{5C499289-40BB-4B19-BEAB-FAFB32DC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517" y="6468336"/>
            <a:ext cx="808000" cy="326164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B049E6B9-9EB4-4942-ACD0-88CF9596894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7396" y="5849028"/>
            <a:ext cx="1397733" cy="896296"/>
          </a:xfrm>
          <a:prstGeom prst="rect">
            <a:avLst/>
          </a:prstGeom>
        </p:spPr>
      </p:pic>
      <p:pic>
        <p:nvPicPr>
          <p:cNvPr id="12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AD879B39-95AB-4D12-ADB0-36297BB4289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4542" y="5843116"/>
            <a:ext cx="2432304" cy="90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9338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424" y="5968848"/>
            <a:ext cx="1962154" cy="9780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544" y="1853399"/>
            <a:ext cx="10963490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69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 anchor="t"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544" y="1853399"/>
            <a:ext cx="10963490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303" y="163737"/>
            <a:ext cx="1294021" cy="1358677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 flipH="1">
            <a:off x="619545" y="1522413"/>
            <a:ext cx="11015808" cy="0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424" y="5968848"/>
            <a:ext cx="1962154" cy="97805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83329FB-A40B-4DB0-9C0A-F9A851E7E8EC}"/>
              </a:ext>
            </a:extLst>
          </p:cNvPr>
          <p:cNvCxnSpPr/>
          <p:nvPr userDrawn="1"/>
        </p:nvCxnSpPr>
        <p:spPr>
          <a:xfrm>
            <a:off x="619544" y="935828"/>
            <a:ext cx="9877395" cy="0"/>
          </a:xfrm>
          <a:prstGeom prst="line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39955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 anchor="t"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303" y="163737"/>
            <a:ext cx="1294020" cy="135867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6819900"/>
            <a:ext cx="12195176" cy="4571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424" y="5968848"/>
            <a:ext cx="1962154" cy="978053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D5422FF-C2C1-49A8-B99E-A4C07E807F68}"/>
              </a:ext>
            </a:extLst>
          </p:cNvPr>
          <p:cNvCxnSpPr/>
          <p:nvPr userDrawn="1"/>
        </p:nvCxnSpPr>
        <p:spPr>
          <a:xfrm>
            <a:off x="619544" y="1522414"/>
            <a:ext cx="9877395" cy="0"/>
          </a:xfrm>
          <a:prstGeom prst="line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32281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arm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151079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 anchor="t"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303" y="163737"/>
            <a:ext cx="1294020" cy="135867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6819900"/>
            <a:ext cx="12195176" cy="457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424" y="5968848"/>
            <a:ext cx="1962154" cy="978053"/>
          </a:xfrm>
          <a:prstGeom prst="rect">
            <a:avLst/>
          </a:prstGeom>
        </p:spPr>
      </p:pic>
      <p:pic>
        <p:nvPicPr>
          <p:cNvPr id="85" name="bjClassifierImageBottom">
            <a:extLst>
              <a:ext uri="{FF2B5EF4-FFF2-40B4-BE49-F238E27FC236}">
                <a16:creationId xmlns:a16="http://schemas.microsoft.com/office/drawing/2014/main" id="{BEE7EE87-01CC-4FF6-91D0-5C801DF8C9B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3517" y="6468336"/>
            <a:ext cx="808000" cy="32616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6EC8E3B-BC0F-49B8-BCCD-755AA58B92E2}"/>
              </a:ext>
            </a:extLst>
          </p:cNvPr>
          <p:cNvCxnSpPr/>
          <p:nvPr userDrawn="1"/>
        </p:nvCxnSpPr>
        <p:spPr>
          <a:xfrm>
            <a:off x="619544" y="1522414"/>
            <a:ext cx="9877395" cy="0"/>
          </a:xfrm>
          <a:prstGeom prst="line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75502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446259"/>
            <a:ext cx="10962696" cy="1076155"/>
          </a:xfrm>
        </p:spPr>
        <p:txBody>
          <a:bodyPr anchor="t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&lt;Team Slid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04304" y="3846466"/>
            <a:ext cx="1646349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104305" y="2116091"/>
            <a:ext cx="1627612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1830269" y="2116091"/>
            <a:ext cx="1627612" cy="1627187"/>
          </a:xfrm>
          <a:solidFill>
            <a:schemeClr val="accent3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3556232" y="2116091"/>
            <a:ext cx="1627612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5282196" y="2116091"/>
            <a:ext cx="1627612" cy="1627187"/>
          </a:xfrm>
          <a:solidFill>
            <a:schemeClr val="bg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7008159" y="2116091"/>
            <a:ext cx="1627612" cy="1627187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8734122" y="2116091"/>
            <a:ext cx="1627612" cy="1627187"/>
          </a:xfrm>
          <a:solidFill>
            <a:schemeClr val="accent4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10460084" y="2116091"/>
            <a:ext cx="1627612" cy="1627187"/>
          </a:xfrm>
          <a:solidFill>
            <a:schemeClr val="accent2"/>
          </a:solidFill>
          <a:ln>
            <a:noFill/>
          </a:ln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830269" y="3846466"/>
            <a:ext cx="1646349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3556232" y="3846466"/>
            <a:ext cx="1646349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5282195" y="3846466"/>
            <a:ext cx="1646349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008159" y="3846466"/>
            <a:ext cx="1646349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8734122" y="3846466"/>
            <a:ext cx="1646349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0460084" y="3846466"/>
            <a:ext cx="1646349" cy="752475"/>
          </a:xfrm>
          <a:noFill/>
        </p:spPr>
        <p:txBody>
          <a:bodyPr/>
          <a:lstStyle>
            <a:lvl1pPr>
              <a:spcBef>
                <a:spcPts val="0"/>
              </a:spcBef>
              <a:defRPr sz="1300" b="1">
                <a:solidFill>
                  <a:schemeClr val="accent2"/>
                </a:solidFill>
              </a:defRPr>
            </a:lvl1pPr>
            <a:lvl2pPr marL="0" indent="0">
              <a:spcBef>
                <a:spcPts val="300"/>
              </a:spcBef>
              <a:buNone/>
              <a:defRPr sz="1200">
                <a:solidFill>
                  <a:srgbClr val="FFFFFF"/>
                </a:solidFill>
              </a:defRPr>
            </a:lvl2pPr>
            <a:lvl3pPr marL="100013" indent="-90488">
              <a:buFont typeface="Arial"/>
              <a:buChar char="•"/>
              <a:defRPr sz="1200">
                <a:solidFill>
                  <a:srgbClr val="FFFFFF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Name &amp; Surname indent for Title</a:t>
            </a:r>
          </a:p>
          <a:p>
            <a:pPr lvl="1"/>
            <a:r>
              <a:rPr lang="en-US" dirty="0"/>
              <a:t>Titl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6858000"/>
            <a:ext cx="12195176" cy="4571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7236" y="5950435"/>
            <a:ext cx="1938561" cy="966293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CC92CEA-609A-4B70-AC33-1947C73CB4FB}"/>
              </a:ext>
            </a:extLst>
          </p:cNvPr>
          <p:cNvCxnSpPr/>
          <p:nvPr userDrawn="1"/>
        </p:nvCxnSpPr>
        <p:spPr>
          <a:xfrm>
            <a:off x="619544" y="1522414"/>
            <a:ext cx="9877395" cy="0"/>
          </a:xfrm>
          <a:prstGeom prst="line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6513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2404533"/>
            <a:ext cx="7161232" cy="2133600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4631270"/>
            <a:ext cx="6570528" cy="138006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tx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014" y="641888"/>
            <a:ext cx="5920300" cy="62161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6819900"/>
            <a:ext cx="12195176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014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7D962B1-BCF2-4B04-A189-AB3802682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89" t="-1" r="1170" b="9444"/>
          <a:stretch/>
        </p:blipFill>
        <p:spPr>
          <a:xfrm>
            <a:off x="-15855" y="-1063"/>
            <a:ext cx="12326875" cy="6858001"/>
          </a:xfrm>
          <a:prstGeom prst="rect">
            <a:avLst/>
          </a:prstGeom>
        </p:spPr>
      </p:pic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17F530F6-4810-4221-8097-B01E5240D395}"/>
              </a:ext>
            </a:extLst>
          </p:cNvPr>
          <p:cNvSpPr/>
          <p:nvPr userDrawn="1"/>
        </p:nvSpPr>
        <p:spPr>
          <a:xfrm>
            <a:off x="7607" y="-1"/>
            <a:ext cx="5187538" cy="6858001"/>
          </a:xfrm>
          <a:prstGeom prst="flowChartProcess">
            <a:avLst/>
          </a:prstGeom>
          <a:solidFill>
            <a:schemeClr val="bg1">
              <a:alpha val="7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kern="600" spc="30" dirty="0" err="1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018" y="5068800"/>
            <a:ext cx="1215122" cy="1275837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505475"/>
            <a:ext cx="4377827" cy="2169037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2776708"/>
            <a:ext cx="4377826" cy="174297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tx1">
                    <a:lumMod val="50000"/>
                  </a:schemeClr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7236" y="5950435"/>
            <a:ext cx="1938561" cy="966293"/>
          </a:xfrm>
          <a:prstGeom prst="rect">
            <a:avLst/>
          </a:prstGeom>
        </p:spPr>
      </p:pic>
      <p:pic>
        <p:nvPicPr>
          <p:cNvPr id="83" name="bjClassifierImageBottom">
            <a:extLst>
              <a:ext uri="{FF2B5EF4-FFF2-40B4-BE49-F238E27FC236}">
                <a16:creationId xmlns:a16="http://schemas.microsoft.com/office/drawing/2014/main" id="{5ECB7890-884E-405E-8CFF-DB5C5FDC8EA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517" y="6468336"/>
            <a:ext cx="808000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8058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3AC10C0-2989-4113-98E9-73FD2369DB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89" t="-1" r="1170" b="9444"/>
          <a:stretch/>
        </p:blipFill>
        <p:spPr>
          <a:xfrm>
            <a:off x="-15855" y="-1063"/>
            <a:ext cx="12326875" cy="6858001"/>
          </a:xfrm>
          <a:prstGeom prst="rect">
            <a:avLst/>
          </a:prstGeom>
        </p:spPr>
      </p:pic>
      <p:sp>
        <p:nvSpPr>
          <p:cNvPr id="16" name="Flowchart: Process 15">
            <a:extLst>
              <a:ext uri="{FF2B5EF4-FFF2-40B4-BE49-F238E27FC236}">
                <a16:creationId xmlns:a16="http://schemas.microsoft.com/office/drawing/2014/main" id="{06FF69A4-B787-4E4C-AFAE-11E4C0F68004}"/>
              </a:ext>
            </a:extLst>
          </p:cNvPr>
          <p:cNvSpPr/>
          <p:nvPr userDrawn="1"/>
        </p:nvSpPr>
        <p:spPr>
          <a:xfrm>
            <a:off x="-15855" y="0"/>
            <a:ext cx="5169768" cy="6858000"/>
          </a:xfrm>
          <a:prstGeom prst="flowChartProcess">
            <a:avLst/>
          </a:prstGeom>
          <a:solidFill>
            <a:schemeClr val="accent3">
              <a:alpha val="86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kern="600" spc="30" dirty="0" err="1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95" y="5096170"/>
            <a:ext cx="1176434" cy="12352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45" y="505475"/>
            <a:ext cx="4377827" cy="2169037"/>
          </a:xfrm>
        </p:spPr>
        <p:txBody>
          <a:bodyPr anchor="ctr" anchorCtr="0">
            <a:normAutofit/>
          </a:bodyPr>
          <a:lstStyle>
            <a:lvl1pPr algn="l">
              <a:lnSpc>
                <a:spcPct val="78000"/>
              </a:lnSpc>
              <a:defRPr sz="4200" b="0" cap="all" spc="13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45" y="2776708"/>
            <a:ext cx="4377826" cy="1742977"/>
          </a:xfrm>
        </p:spPr>
        <p:txBody>
          <a:bodyPr anchor="t" anchorCtr="0"/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38" indent="-152400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7236" y="5950435"/>
            <a:ext cx="1938561" cy="966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0194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4412743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9544" y="446259"/>
            <a:ext cx="10962754" cy="1077742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9544" y="1853399"/>
            <a:ext cx="10963490" cy="42902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9545" y="6433581"/>
            <a:ext cx="3860800" cy="27202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kern="600" spc="30">
                <a:solidFill>
                  <a:schemeClr val="tx1"/>
                </a:solidFill>
                <a:latin typeface="Arial Narrow"/>
              </a:defRPr>
            </a:lvl1pPr>
          </a:lstStyle>
          <a:p>
            <a:endParaRPr lang="en-US" dirty="0"/>
          </a:p>
        </p:txBody>
      </p:sp>
      <p:sp>
        <p:nvSpPr>
          <p:cNvPr id="6" name="MSIPCMContentMarking" descr="{&quot;HashCode&quot;:-1589026337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6C131991-5B46-5A4A-1988-19949E6F04D3}"/>
              </a:ext>
            </a:extLst>
          </p:cNvPr>
          <p:cNvSpPr txBox="1"/>
          <p:nvPr userDrawn="1"/>
        </p:nvSpPr>
        <p:spPr>
          <a:xfrm>
            <a:off x="0" y="0"/>
            <a:ext cx="679063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AU" sz="1200" kern="600" spc="30">
                <a:solidFill>
                  <a:srgbClr val="03C03C"/>
                </a:solidFill>
                <a:latin typeface="Calibri" panose="020F0502020204030204" pitchFamily="34" charset="0"/>
              </a:rPr>
              <a:t>Public</a:t>
            </a:r>
            <a:endParaRPr lang="en-AU" sz="1200" kern="600" spc="30" dirty="0" err="1">
              <a:solidFill>
                <a:srgbClr val="03C03C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825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7" r:id="rId2"/>
    <p:sldLayoutId id="2147483668" r:id="rId3"/>
    <p:sldLayoutId id="2147483676" r:id="rId4"/>
    <p:sldLayoutId id="2147483677" r:id="rId5"/>
    <p:sldLayoutId id="2147483681" r:id="rId6"/>
    <p:sldLayoutId id="2147483682" r:id="rId7"/>
    <p:sldLayoutId id="2147483692" r:id="rId8"/>
    <p:sldLayoutId id="2147483693" r:id="rId9"/>
    <p:sldLayoutId id="2147483694" r:id="rId10"/>
    <p:sldLayoutId id="2147483696" r:id="rId11"/>
    <p:sldLayoutId id="2147483697" r:id="rId12"/>
    <p:sldLayoutId id="2147483707" r:id="rId13"/>
    <p:sldLayoutId id="2147483708" r:id="rId14"/>
    <p:sldLayoutId id="2147483709" r:id="rId15"/>
    <p:sldLayoutId id="2147483711" r:id="rId16"/>
    <p:sldLayoutId id="2147483712" r:id="rId17"/>
  </p:sldLayoutIdLst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3200" kern="600" spc="50">
          <a:solidFill>
            <a:schemeClr val="tx1"/>
          </a:solidFill>
          <a:latin typeface="Arial Narrow"/>
          <a:ea typeface="+mj-ea"/>
          <a:cs typeface="Arial Narrow"/>
        </a:defRPr>
      </a:lvl1pPr>
    </p:titleStyle>
    <p:bodyStyle>
      <a:lvl1pPr marL="0" indent="0" algn="l" defTabSz="457200" rtl="0" eaLnBrk="1" latinLnBrk="0" hangingPunct="1">
        <a:lnSpc>
          <a:spcPct val="97000"/>
        </a:lnSpc>
        <a:spcBef>
          <a:spcPts val="1000"/>
        </a:spcBef>
        <a:buFont typeface="Arial"/>
        <a:buNone/>
        <a:defRPr sz="2000" kern="600" spc="30">
          <a:solidFill>
            <a:schemeClr val="tx1"/>
          </a:solidFill>
          <a:latin typeface="Arial Narrow"/>
          <a:ea typeface="+mn-ea"/>
          <a:cs typeface="Arial Narrow"/>
        </a:defRPr>
      </a:lvl1pPr>
      <a:lvl2pPr marL="193675" indent="-165100" algn="l" defTabSz="457200" rtl="0" eaLnBrk="1" latinLnBrk="0" hangingPunct="1">
        <a:lnSpc>
          <a:spcPct val="97000"/>
        </a:lnSpc>
        <a:spcBef>
          <a:spcPts val="300"/>
        </a:spcBef>
        <a:buSzPct val="95000"/>
        <a:buFont typeface="Arial"/>
        <a:buChar char="•"/>
        <a:defRPr sz="2000" kern="600" spc="30">
          <a:solidFill>
            <a:schemeClr val="tx1"/>
          </a:solidFill>
          <a:latin typeface="Arial Narrow"/>
          <a:ea typeface="+mn-ea"/>
          <a:cs typeface="Arial Narrow"/>
        </a:defRPr>
      </a:lvl2pPr>
      <a:lvl3pPr marL="401638" indent="-174625" algn="l" defTabSz="457200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900" kern="600" spc="30">
          <a:solidFill>
            <a:schemeClr val="tx1"/>
          </a:solidFill>
          <a:latin typeface="Arial Narrow"/>
          <a:ea typeface="+mn-ea"/>
          <a:cs typeface="Arial Narrow"/>
        </a:defRPr>
      </a:lvl3pPr>
      <a:lvl4pPr marL="584200" indent="-168275" algn="l" defTabSz="457200" rtl="0" eaLnBrk="1" latinLnBrk="0" hangingPunct="1">
        <a:lnSpc>
          <a:spcPct val="97000"/>
        </a:lnSpc>
        <a:spcBef>
          <a:spcPts val="0"/>
        </a:spcBef>
        <a:buSzPct val="95000"/>
        <a:buFont typeface="Arial"/>
        <a:buChar char="•"/>
        <a:defRPr sz="1800" kern="600" spc="30">
          <a:solidFill>
            <a:schemeClr val="tx1"/>
          </a:solidFill>
          <a:latin typeface="Arial Narrow"/>
          <a:ea typeface="+mn-ea"/>
          <a:cs typeface="Arial Narrow"/>
        </a:defRPr>
      </a:lvl4pPr>
      <a:lvl5pPr marL="773113" indent="-182563" algn="l" defTabSz="457200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700" kern="600" spc="30">
          <a:solidFill>
            <a:schemeClr val="tx1"/>
          </a:solidFill>
          <a:latin typeface="Arial Narrow"/>
          <a:ea typeface="+mn-ea"/>
          <a:cs typeface="Arial Narrow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oopersanimalhealth.com.au/" TargetMode="External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hyperlink" Target="http://www.coopersanimalhealth.com.au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hyperlink" Target="http://www.coopersanimalhealth.com.au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hyperlink" Target="http://www.coopersanimalhealth.com.au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hyperlink" Target="http://www.coopersanimalhealth.com.au/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hyperlink" Target="http://www.coopersanimalhealth.com.au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heep next to a jug of laundry detergent&#10;&#10;Description automatically generated">
            <a:extLst>
              <a:ext uri="{FF2B5EF4-FFF2-40B4-BE49-F238E27FC236}">
                <a16:creationId xmlns:a16="http://schemas.microsoft.com/office/drawing/2014/main" id="{925512A0-7BE9-532A-911D-97752B3EC1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787" y="1416625"/>
            <a:ext cx="4109608" cy="410960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A375C38-9516-1ADD-42E9-3DBA74EEC893}"/>
              </a:ext>
            </a:extLst>
          </p:cNvPr>
          <p:cNvSpPr txBox="1"/>
          <p:nvPr/>
        </p:nvSpPr>
        <p:spPr>
          <a:xfrm>
            <a:off x="585787" y="493295"/>
            <a:ext cx="50006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ype: JPG</a:t>
            </a:r>
          </a:p>
          <a:p>
            <a:r>
              <a:rPr lang="en-US" b="1" dirty="0"/>
              <a:t>Size: 1080 x 1080px</a:t>
            </a:r>
          </a:p>
          <a:p>
            <a:endParaRPr lang="en-US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DAFC43C-B28A-3DAE-FC62-23A2D3C0D638}"/>
              </a:ext>
            </a:extLst>
          </p:cNvPr>
          <p:cNvSpPr txBox="1"/>
          <p:nvPr/>
        </p:nvSpPr>
        <p:spPr>
          <a:xfrm>
            <a:off x="6096000" y="1967049"/>
            <a:ext cx="4974228" cy="224676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1400" b="1" u="sng" dirty="0">
              <a:latin typeface="Aptos Display" panose="020B0004020202020204" pitchFamily="34" charset="0"/>
            </a:endParaRPr>
          </a:p>
          <a:p>
            <a:r>
              <a:rPr lang="en-US" sz="1400" b="1" dirty="0">
                <a:latin typeface="Aptos Display" panose="020B0004020202020204" pitchFamily="34" charset="0"/>
              </a:rPr>
              <a:t>Copy:</a:t>
            </a:r>
          </a:p>
          <a:p>
            <a:r>
              <a:rPr lang="en-AU" sz="1400" kern="100" dirty="0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w size, same flex</a:t>
            </a:r>
            <a:r>
              <a:rPr lang="en-AU" sz="1400" dirty="0">
                <a:solidFill>
                  <a:srgbClr val="000000"/>
                </a:solidFill>
                <a:latin typeface="Aptos Display" panose="020B0004020202020204" pitchFamily="34" charset="0"/>
              </a:rPr>
              <a:t>. </a:t>
            </a:r>
            <a:r>
              <a:rPr lang="en-GB" sz="1400" kern="0" dirty="0" err="1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exolt</a:t>
            </a:r>
            <a:r>
              <a:rPr lang="en-GB" sz="1400" kern="0" dirty="0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hanges everything in lice control and now comes in a convenient 5 litre backpack, that treats up to 555 sheep (@60kg). Head in store and pick up a new 5 litre backpack of </a:t>
            </a:r>
            <a:r>
              <a:rPr lang="en-GB" sz="1400" kern="0" dirty="0" err="1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exolt</a:t>
            </a:r>
            <a:r>
              <a:rPr lang="en-GB" sz="1400" kern="0" dirty="0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day. </a:t>
            </a:r>
          </a:p>
          <a:p>
            <a:endParaRPr lang="en-GB" sz="1400" kern="0" dirty="0">
              <a:latin typeface="Aptos Display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AU" sz="1400" kern="0" dirty="0">
                <a:solidFill>
                  <a:srgbClr val="212121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learn more about this revolution in lice control visit </a:t>
            </a:r>
            <a:r>
              <a:rPr lang="en-AU" sz="1400" kern="0" dirty="0">
                <a:solidFill>
                  <a:srgbClr val="212121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3"/>
              </a:rPr>
              <a:t>www.coopersanimalhealth.com.au</a:t>
            </a:r>
            <a:endParaRPr lang="en-AU" sz="1400" kern="100" dirty="0">
              <a:effectLst/>
              <a:latin typeface="Aptos Display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AU" sz="1400" b="0" i="0" u="none" strike="noStrike" dirty="0">
                <a:solidFill>
                  <a:srgbClr val="000000"/>
                </a:solidFill>
                <a:effectLst/>
                <a:latin typeface="Aptos Display" panose="020B000402020202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854835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0EE3B77-8B83-2BAF-966A-6BE7AC8F4EED}"/>
              </a:ext>
            </a:extLst>
          </p:cNvPr>
          <p:cNvSpPr txBox="1"/>
          <p:nvPr/>
        </p:nvSpPr>
        <p:spPr>
          <a:xfrm>
            <a:off x="585787" y="493295"/>
            <a:ext cx="50006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ype: JPG</a:t>
            </a:r>
          </a:p>
          <a:p>
            <a:r>
              <a:rPr lang="en-US" b="1" dirty="0"/>
              <a:t>Size: 1920 x 1080px</a:t>
            </a:r>
          </a:p>
          <a:p>
            <a:endParaRPr lang="en-US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40CDEB-4569-EE57-EB92-1929ADAC54B3}"/>
              </a:ext>
            </a:extLst>
          </p:cNvPr>
          <p:cNvSpPr txBox="1"/>
          <p:nvPr/>
        </p:nvSpPr>
        <p:spPr>
          <a:xfrm>
            <a:off x="6096000" y="1967049"/>
            <a:ext cx="4974228" cy="224676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1400" b="1" u="sng" dirty="0">
              <a:latin typeface="Aptos Display" panose="020B0004020202020204" pitchFamily="34" charset="0"/>
            </a:endParaRPr>
          </a:p>
          <a:p>
            <a:r>
              <a:rPr lang="en-US" sz="1400" b="1" dirty="0">
                <a:latin typeface="Aptos Display" panose="020B0004020202020204" pitchFamily="34" charset="0"/>
              </a:rPr>
              <a:t>Copy:</a:t>
            </a:r>
          </a:p>
          <a:p>
            <a:r>
              <a:rPr lang="en-AU" sz="1400" kern="100" dirty="0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w size, same flex</a:t>
            </a:r>
            <a:r>
              <a:rPr lang="en-AU" sz="1400" dirty="0">
                <a:solidFill>
                  <a:srgbClr val="000000"/>
                </a:solidFill>
                <a:latin typeface="Aptos Display" panose="020B0004020202020204" pitchFamily="34" charset="0"/>
              </a:rPr>
              <a:t>. </a:t>
            </a:r>
            <a:r>
              <a:rPr lang="en-GB" sz="1400" kern="0" dirty="0" err="1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exolt</a:t>
            </a:r>
            <a:r>
              <a:rPr lang="en-GB" sz="1400" kern="0" dirty="0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hanges everything in lice control and now comes in a convenient 5 litre backpack, that treats up to 555 sheep (@60kg). Head in store and pick up a new 5 litre backpack of </a:t>
            </a:r>
            <a:r>
              <a:rPr lang="en-GB" sz="1400" kern="0" dirty="0" err="1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exolt</a:t>
            </a:r>
            <a:r>
              <a:rPr lang="en-GB" sz="1400" kern="0" dirty="0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day. </a:t>
            </a:r>
          </a:p>
          <a:p>
            <a:endParaRPr lang="en-GB" sz="1400" kern="0" dirty="0">
              <a:latin typeface="Aptos Display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AU" sz="1400" kern="0" dirty="0">
                <a:solidFill>
                  <a:srgbClr val="212121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learn more about this revolution in lice control visit </a:t>
            </a:r>
            <a:r>
              <a:rPr lang="en-AU" sz="1400" kern="0" dirty="0">
                <a:solidFill>
                  <a:srgbClr val="212121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www.coopersanimalhealth.com.au</a:t>
            </a:r>
            <a:endParaRPr lang="en-AU" sz="1400" kern="100" dirty="0">
              <a:effectLst/>
              <a:latin typeface="Aptos Display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AU" sz="1400" b="0" i="0" u="none" strike="noStrike" dirty="0">
                <a:solidFill>
                  <a:srgbClr val="000000"/>
                </a:solidFill>
                <a:effectLst/>
                <a:latin typeface="Aptos Display" panose="020B0004020202020204" pitchFamily="34" charset="0"/>
              </a:rPr>
              <a:t> </a:t>
            </a:r>
          </a:p>
        </p:txBody>
      </p:sp>
      <p:pic>
        <p:nvPicPr>
          <p:cNvPr id="7" name="Picture 6" descr="A white sheep next to a jug of milk&#10;&#10;Description automatically generated">
            <a:extLst>
              <a:ext uri="{FF2B5EF4-FFF2-40B4-BE49-F238E27FC236}">
                <a16:creationId xmlns:a16="http://schemas.microsoft.com/office/drawing/2014/main" id="{5F0DC0DB-2CBE-F76D-A047-D372F06809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599" y="1317523"/>
            <a:ext cx="2794177" cy="496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216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014BE38F-C57A-C97A-E144-84FFF1A782E2}"/>
              </a:ext>
            </a:extLst>
          </p:cNvPr>
          <p:cNvSpPr txBox="1"/>
          <p:nvPr/>
        </p:nvSpPr>
        <p:spPr>
          <a:xfrm>
            <a:off x="585787" y="493295"/>
            <a:ext cx="50006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ype: JPG</a:t>
            </a:r>
          </a:p>
          <a:p>
            <a:r>
              <a:rPr lang="en-US" b="1" dirty="0"/>
              <a:t>Size: 1080 x 1080px</a:t>
            </a:r>
          </a:p>
          <a:p>
            <a:endParaRPr lang="en-US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DE49A1A-C295-BB98-3D00-D6C881048EB5}"/>
              </a:ext>
            </a:extLst>
          </p:cNvPr>
          <p:cNvSpPr txBox="1"/>
          <p:nvPr/>
        </p:nvSpPr>
        <p:spPr>
          <a:xfrm>
            <a:off x="5952007" y="2093624"/>
            <a:ext cx="4974228" cy="18158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1400" b="1" u="sng" dirty="0">
              <a:latin typeface="Aptos Display" panose="020B0004020202020204" pitchFamily="34" charset="0"/>
            </a:endParaRPr>
          </a:p>
          <a:p>
            <a:r>
              <a:rPr lang="en-US" sz="1400" b="1" dirty="0">
                <a:latin typeface="Aptos Display" panose="020B0004020202020204" pitchFamily="34" charset="0"/>
              </a:rPr>
              <a:t>Copy:</a:t>
            </a:r>
          </a:p>
          <a:p>
            <a:r>
              <a:rPr lang="en-GB" sz="1400" kern="0" dirty="0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fering even more flexibility in controlling lice, t</a:t>
            </a:r>
            <a:r>
              <a:rPr lang="en-GB" sz="1400" kern="0" dirty="0">
                <a:solidFill>
                  <a:srgbClr val="000000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 convenient new 5 litre </a:t>
            </a:r>
            <a:r>
              <a:rPr lang="en-GB" sz="1400" kern="0" dirty="0" err="1">
                <a:solidFill>
                  <a:srgbClr val="000000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exolt</a:t>
            </a:r>
            <a:r>
              <a:rPr lang="en-GB" sz="1400" kern="0" dirty="0">
                <a:solidFill>
                  <a:srgbClr val="000000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ackpack has finally hit the shelves. Head instore and pick yours today.</a:t>
            </a:r>
            <a:endParaRPr lang="en-AU" sz="1400" kern="100" dirty="0">
              <a:effectLst/>
              <a:latin typeface="Aptos Display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AU" sz="1400" b="0" i="0" u="none" strike="noStrike" dirty="0">
                <a:solidFill>
                  <a:srgbClr val="000000"/>
                </a:solidFill>
                <a:effectLst/>
                <a:latin typeface="Aptos Display" panose="020B0004020202020204" pitchFamily="34" charset="0"/>
              </a:rPr>
              <a:t> </a:t>
            </a:r>
          </a:p>
          <a:p>
            <a:r>
              <a:rPr lang="en-AU" sz="1400" kern="0" dirty="0">
                <a:solidFill>
                  <a:srgbClr val="212121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learn more about this revolution in lice control visit </a:t>
            </a:r>
            <a:r>
              <a:rPr lang="en-AU" sz="1400" kern="0" dirty="0">
                <a:solidFill>
                  <a:srgbClr val="212121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www.coopersanimalhealth.com.au</a:t>
            </a:r>
            <a:endParaRPr lang="en-AU" sz="1400" kern="100" dirty="0">
              <a:effectLst/>
              <a:latin typeface="Aptos Display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Picture 10" descr="A sheep next to a jug of liquid&#10;&#10;Description automatically generated">
            <a:extLst>
              <a:ext uri="{FF2B5EF4-FFF2-40B4-BE49-F238E27FC236}">
                <a16:creationId xmlns:a16="http://schemas.microsoft.com/office/drawing/2014/main" id="{881071BB-D730-79D1-D2FC-BCDDB89EA1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091" y="1396660"/>
            <a:ext cx="4064679" cy="406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696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63014E0-EFEB-5E1E-FA26-FBD492BFCE75}"/>
              </a:ext>
            </a:extLst>
          </p:cNvPr>
          <p:cNvSpPr txBox="1"/>
          <p:nvPr/>
        </p:nvSpPr>
        <p:spPr>
          <a:xfrm>
            <a:off x="585787" y="493295"/>
            <a:ext cx="50006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ype: JPG</a:t>
            </a:r>
          </a:p>
          <a:p>
            <a:r>
              <a:rPr lang="en-US" b="1" dirty="0"/>
              <a:t>Size: 1920 x 1080px</a:t>
            </a:r>
          </a:p>
          <a:p>
            <a:endParaRPr lang="en-US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2C52AE7-7BA1-4451-19C8-B1BBC1B9151E}"/>
              </a:ext>
            </a:extLst>
          </p:cNvPr>
          <p:cNvSpPr txBox="1"/>
          <p:nvPr/>
        </p:nvSpPr>
        <p:spPr>
          <a:xfrm>
            <a:off x="5952007" y="2093624"/>
            <a:ext cx="4974228" cy="18158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1400" b="1" u="sng" dirty="0">
              <a:latin typeface="Aptos Display" panose="020B0004020202020204" pitchFamily="34" charset="0"/>
            </a:endParaRPr>
          </a:p>
          <a:p>
            <a:r>
              <a:rPr lang="en-US" sz="1400" b="1" dirty="0">
                <a:latin typeface="Aptos Display" panose="020B0004020202020204" pitchFamily="34" charset="0"/>
              </a:rPr>
              <a:t>Copy:</a:t>
            </a:r>
          </a:p>
          <a:p>
            <a:r>
              <a:rPr lang="en-GB" sz="1400" kern="0" dirty="0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fering even more flexibility in controlling lice, t</a:t>
            </a:r>
            <a:r>
              <a:rPr lang="en-GB" sz="1400" kern="0" dirty="0">
                <a:solidFill>
                  <a:srgbClr val="000000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 convenient new 5 litre </a:t>
            </a:r>
            <a:r>
              <a:rPr lang="en-GB" sz="1400" kern="0" dirty="0" err="1">
                <a:solidFill>
                  <a:srgbClr val="000000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exolt</a:t>
            </a:r>
            <a:r>
              <a:rPr lang="en-GB" sz="1400" kern="0" dirty="0">
                <a:solidFill>
                  <a:srgbClr val="000000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ackpack has finally hit the shelves. Head instore and pick yours today.</a:t>
            </a:r>
            <a:endParaRPr lang="en-AU" sz="1400" kern="100" dirty="0">
              <a:effectLst/>
              <a:latin typeface="Aptos Display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AU" sz="1400" b="0" i="0" u="none" strike="noStrike" dirty="0">
                <a:solidFill>
                  <a:srgbClr val="000000"/>
                </a:solidFill>
                <a:effectLst/>
                <a:latin typeface="Aptos Display" panose="020B0004020202020204" pitchFamily="34" charset="0"/>
              </a:rPr>
              <a:t> </a:t>
            </a:r>
          </a:p>
          <a:p>
            <a:r>
              <a:rPr lang="en-AU" sz="1400" kern="0" dirty="0">
                <a:solidFill>
                  <a:srgbClr val="212121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learn more about this revolution in lice control visit </a:t>
            </a:r>
            <a:r>
              <a:rPr lang="en-AU" sz="1400" kern="0" dirty="0">
                <a:solidFill>
                  <a:srgbClr val="212121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www.coopersanimalhealth.com.au</a:t>
            </a:r>
            <a:endParaRPr lang="en-AU" sz="1400" kern="100" dirty="0">
              <a:effectLst/>
              <a:latin typeface="Aptos Display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icture 3" descr="A sheep next to a jug of milk&#10;&#10;Description automatically generated">
            <a:extLst>
              <a:ext uri="{FF2B5EF4-FFF2-40B4-BE49-F238E27FC236}">
                <a16:creationId xmlns:a16="http://schemas.microsoft.com/office/drawing/2014/main" id="{EA0B431A-E13C-EBD7-6B21-BCF1AEE665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799" y="1280394"/>
            <a:ext cx="2794177" cy="496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2482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6A90541-E694-1BE7-3D93-0D895A761F97}"/>
              </a:ext>
            </a:extLst>
          </p:cNvPr>
          <p:cNvSpPr txBox="1"/>
          <p:nvPr/>
        </p:nvSpPr>
        <p:spPr>
          <a:xfrm>
            <a:off x="5999141" y="2413336"/>
            <a:ext cx="4974228" cy="18158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1400" b="1" u="sng" dirty="0">
              <a:latin typeface="Aptos Display" panose="020B0004020202020204" pitchFamily="34" charset="0"/>
            </a:endParaRPr>
          </a:p>
          <a:p>
            <a:r>
              <a:rPr lang="en-US" sz="1400" b="1" dirty="0">
                <a:latin typeface="Aptos Display" panose="020B0004020202020204" pitchFamily="34" charset="0"/>
              </a:rPr>
              <a:t>Copy:</a:t>
            </a:r>
          </a:p>
          <a:p>
            <a:r>
              <a:rPr lang="en-GB" sz="1400" kern="0" dirty="0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fering even more flexibility in controlling lice, t</a:t>
            </a:r>
            <a:r>
              <a:rPr lang="en-GB" sz="1400" kern="0" dirty="0">
                <a:solidFill>
                  <a:srgbClr val="000000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 brand new 5 litre </a:t>
            </a:r>
            <a:r>
              <a:rPr lang="en-GB" sz="1400" kern="0" dirty="0" err="1">
                <a:solidFill>
                  <a:srgbClr val="000000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exolt</a:t>
            </a:r>
            <a:r>
              <a:rPr lang="en-GB" sz="1400" kern="0" dirty="0">
                <a:solidFill>
                  <a:srgbClr val="000000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ackpack has finally hit the shelves. Head in store and pick yours today.</a:t>
            </a:r>
            <a:endParaRPr lang="en-AU" sz="1400" kern="100" dirty="0">
              <a:effectLst/>
              <a:latin typeface="Aptos Display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AU" sz="1400" b="0" i="0" u="none" strike="noStrike" dirty="0">
                <a:solidFill>
                  <a:srgbClr val="000000"/>
                </a:solidFill>
                <a:effectLst/>
                <a:latin typeface="Aptos Display" panose="020B0004020202020204" pitchFamily="34" charset="0"/>
              </a:rPr>
              <a:t> </a:t>
            </a:r>
          </a:p>
          <a:p>
            <a:r>
              <a:rPr lang="en-AU" sz="1400" kern="0" dirty="0">
                <a:solidFill>
                  <a:srgbClr val="212121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learn more about this revolution in lice control visit </a:t>
            </a:r>
            <a:r>
              <a:rPr lang="en-AU" sz="1400" kern="0" dirty="0">
                <a:solidFill>
                  <a:srgbClr val="212121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www.coopersanimalhealth.com.au</a:t>
            </a:r>
            <a:endParaRPr lang="en-AU" sz="1400" kern="100" dirty="0">
              <a:effectLst/>
              <a:latin typeface="Aptos Display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 descr="A white jug with yellow text&#10;&#10;Description automatically generated">
            <a:extLst>
              <a:ext uri="{FF2B5EF4-FFF2-40B4-BE49-F238E27FC236}">
                <a16:creationId xmlns:a16="http://schemas.microsoft.com/office/drawing/2014/main" id="{57E2D89D-FDCC-A430-DB77-8C69380462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979" y="1387463"/>
            <a:ext cx="4083074" cy="408307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A923622-72CE-8A48-B3B0-B08C2BA2FCD0}"/>
              </a:ext>
            </a:extLst>
          </p:cNvPr>
          <p:cNvSpPr txBox="1"/>
          <p:nvPr/>
        </p:nvSpPr>
        <p:spPr>
          <a:xfrm>
            <a:off x="585787" y="493295"/>
            <a:ext cx="50006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ost 1: GIF</a:t>
            </a:r>
          </a:p>
          <a:p>
            <a:r>
              <a:rPr lang="en-US" b="1" dirty="0"/>
              <a:t>Size: 1080 x 1080px</a:t>
            </a:r>
          </a:p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696034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3228451-451D-AD87-6893-506C8573EDDB}"/>
              </a:ext>
            </a:extLst>
          </p:cNvPr>
          <p:cNvSpPr txBox="1"/>
          <p:nvPr/>
        </p:nvSpPr>
        <p:spPr>
          <a:xfrm>
            <a:off x="585787" y="493295"/>
            <a:ext cx="50006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ype: GIF</a:t>
            </a:r>
          </a:p>
          <a:p>
            <a:r>
              <a:rPr lang="en-US" b="1" dirty="0"/>
              <a:t>Size: 1920 x 1080px</a:t>
            </a:r>
          </a:p>
          <a:p>
            <a:endParaRPr lang="en-US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77969C7-7C83-0712-3B58-F9B9D4AC5199}"/>
              </a:ext>
            </a:extLst>
          </p:cNvPr>
          <p:cNvSpPr txBox="1"/>
          <p:nvPr/>
        </p:nvSpPr>
        <p:spPr>
          <a:xfrm>
            <a:off x="5999141" y="2413336"/>
            <a:ext cx="4974228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1400" b="1" u="sng" dirty="0">
              <a:latin typeface="Aptos Display" panose="020B0004020202020204" pitchFamily="34" charset="0"/>
            </a:endParaRPr>
          </a:p>
          <a:p>
            <a:r>
              <a:rPr lang="en-US" sz="1400" b="1" dirty="0">
                <a:latin typeface="Aptos Display" panose="020B0004020202020204" pitchFamily="34" charset="0"/>
              </a:rPr>
              <a:t>Copy:</a:t>
            </a:r>
          </a:p>
          <a:p>
            <a:r>
              <a:rPr lang="en-GB" sz="1400" kern="0" dirty="0"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fering even more flexibility in controlling lice, t</a:t>
            </a:r>
            <a:r>
              <a:rPr lang="en-GB" sz="1400" kern="0" dirty="0">
                <a:solidFill>
                  <a:srgbClr val="000000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 brand new 5 litre </a:t>
            </a:r>
            <a:r>
              <a:rPr lang="en-GB" sz="1400" kern="0" dirty="0" err="1">
                <a:solidFill>
                  <a:srgbClr val="000000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exolt</a:t>
            </a:r>
            <a:r>
              <a:rPr lang="en-GB" sz="1400" kern="0" dirty="0">
                <a:solidFill>
                  <a:srgbClr val="000000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ackpack has finally hit the shelves. Head in store and pick yours today.</a:t>
            </a:r>
            <a:endParaRPr lang="en-AU" sz="1400" kern="100" dirty="0">
              <a:effectLst/>
              <a:latin typeface="Aptos Display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AU" sz="1400" b="0" i="0" u="none" strike="noStrike" dirty="0">
                <a:solidFill>
                  <a:srgbClr val="000000"/>
                </a:solidFill>
                <a:effectLst/>
                <a:latin typeface="Aptos Display" panose="020B0004020202020204" pitchFamily="34" charset="0"/>
              </a:rPr>
              <a:t> </a:t>
            </a:r>
          </a:p>
          <a:p>
            <a:r>
              <a:rPr lang="en-AU" sz="1400" kern="0" dirty="0">
                <a:solidFill>
                  <a:srgbClr val="212121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learn more about this revolution in lice control visit </a:t>
            </a:r>
            <a:r>
              <a:rPr lang="en-AU" sz="1400" kern="0" dirty="0">
                <a:solidFill>
                  <a:srgbClr val="212121"/>
                </a:solidFill>
                <a:effectLst/>
                <a:latin typeface="Aptos Display" panose="020B000402020202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www.coopersanimalhealth.com.au</a:t>
            </a:r>
            <a:endParaRPr lang="en-AU" sz="1400" kern="0" dirty="0">
              <a:solidFill>
                <a:srgbClr val="212121"/>
              </a:solidFill>
              <a:effectLst/>
              <a:latin typeface="Aptos Display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AU" sz="1400" kern="100" dirty="0">
              <a:effectLst/>
              <a:latin typeface="Aptos Display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icture 3" descr="A white plastic jug with a handle&#10;&#10;Description automatically generated">
            <a:extLst>
              <a:ext uri="{FF2B5EF4-FFF2-40B4-BE49-F238E27FC236}">
                <a16:creationId xmlns:a16="http://schemas.microsoft.com/office/drawing/2014/main" id="{45982D65-01E8-FAC5-C2CA-256FCDC979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787" y="1318654"/>
            <a:ext cx="2763329" cy="4912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1354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k Template without Anthem No Images">
  <a:themeElements>
    <a:clrScheme name="Custom 9">
      <a:dk1>
        <a:srgbClr val="37424A"/>
      </a:dk1>
      <a:lt1>
        <a:sysClr val="window" lastClr="FFFFFF"/>
      </a:lt1>
      <a:dk2>
        <a:srgbClr val="37424A"/>
      </a:dk2>
      <a:lt2>
        <a:srgbClr val="F2F2F2"/>
      </a:lt2>
      <a:accent1>
        <a:srgbClr val="00877C"/>
      </a:accent1>
      <a:accent2>
        <a:srgbClr val="66203A"/>
      </a:accent2>
      <a:accent3>
        <a:srgbClr val="6ECEB2"/>
      </a:accent3>
      <a:accent4>
        <a:srgbClr val="BFBFBF"/>
      </a:accent4>
      <a:accent5>
        <a:srgbClr val="F68D2E"/>
      </a:accent5>
      <a:accent6>
        <a:srgbClr val="FBE122"/>
      </a:accent6>
      <a:hlink>
        <a:srgbClr val="00877C"/>
      </a:hlink>
      <a:folHlink>
        <a:srgbClr val="00877C"/>
      </a:folHlink>
    </a:clrScheme>
    <a:fontScheme name="Merck Font Theme #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tlCol="0" anchor="ctr"/>
      <a:lstStyle>
        <a:defPPr algn="ctr">
          <a:defRPr kern="600" spc="3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>
          <a:defRPr kern="600" spc="3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erck No Tag 16.9 Template v7" id="{31D03E79-2832-2541-81F6-D8F6F0E8BFA0}" vid="{05E42707-AC2D-D348-BA11-0EA99F50448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38F1E83D44B43B5D3A45E5DDE6C3A" ma:contentTypeVersion="6" ma:contentTypeDescription="Create a new document." ma:contentTypeScope="" ma:versionID="6afff99ea779a65fd836eba00158a9fe">
  <xsd:schema xmlns:xsd="http://www.w3.org/2001/XMLSchema" xmlns:xs="http://www.w3.org/2001/XMLSchema" xmlns:p="http://schemas.microsoft.com/office/2006/metadata/properties" xmlns:ns2="6f79048e-9e87-48d3-aa3f-848f4bafcd8f" targetNamespace="http://schemas.microsoft.com/office/2006/metadata/properties" ma:root="true" ma:fieldsID="64c75da41b2f7f3855478c0de9b22097" ns2:_="">
    <xsd:import namespace="6f79048e-9e87-48d3-aa3f-848f4bafcd8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79048e-9e87-48d3-aa3f-848f4bafcd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A362021-269C-4DD4-AD7A-40F5BADEF7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79048e-9e87-48d3-aa3f-848f4bafcd8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0725AD0-8F08-4EB6-8733-D8D216CDD4B2}">
  <ds:schemaRefs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6f79048e-9e87-48d3-aa3f-848f4bafcd8f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5B766321-C34C-4CD5-8353-C6BC0F5428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015</TotalTime>
  <Words>375</Words>
  <Application>Microsoft Office PowerPoint</Application>
  <PresentationFormat>Widescreen</PresentationFormat>
  <Paragraphs>44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ptos Display</vt:lpstr>
      <vt:lpstr>Arial</vt:lpstr>
      <vt:lpstr>Arial Narrow</vt:lpstr>
      <vt:lpstr>Calibri</vt:lpstr>
      <vt:lpstr>Lucida Grande</vt:lpstr>
      <vt:lpstr>Merck Template without Anthem No Image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aaaaa</dc:title>
  <dc:creator>Speers, Paul</dc:creator>
  <cp:lastModifiedBy>Tamang, Ranjeeta</cp:lastModifiedBy>
  <cp:revision>95</cp:revision>
  <dcterms:created xsi:type="dcterms:W3CDTF">2021-06-02T01:16:48Z</dcterms:created>
  <dcterms:modified xsi:type="dcterms:W3CDTF">2023-10-13T09:3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705177474</vt:i4>
  </property>
  <property fmtid="{D5CDD505-2E9C-101B-9397-08002B2CF9AE}" pid="3" name="_NewReviewCycle">
    <vt:lpwstr/>
  </property>
  <property fmtid="{D5CDD505-2E9C-101B-9397-08002B2CF9AE}" pid="4" name="_EmailSubject">
    <vt:lpwstr>Allflex Coopers MSD Dream It Achieve It Together Template.pptx</vt:lpwstr>
  </property>
  <property fmtid="{D5CDD505-2E9C-101B-9397-08002B2CF9AE}" pid="5" name="_AuthorEmail">
    <vt:lpwstr>paul.speers@msd.com</vt:lpwstr>
  </property>
  <property fmtid="{D5CDD505-2E9C-101B-9397-08002B2CF9AE}" pid="6" name="_AuthorEmailDisplayName">
    <vt:lpwstr>Speers, Paul</vt:lpwstr>
  </property>
  <property fmtid="{D5CDD505-2E9C-101B-9397-08002B2CF9AE}" pid="7" name="ContentTypeId">
    <vt:lpwstr>0x0101007CC38F1E83D44B43B5D3A45E5DDE6C3A</vt:lpwstr>
  </property>
  <property fmtid="{D5CDD505-2E9C-101B-9397-08002B2CF9AE}" pid="8" name="MSIP_Label_794a5f65-4bbe-4bbe-bb66-e23e35795661_Enabled">
    <vt:lpwstr>true</vt:lpwstr>
  </property>
  <property fmtid="{D5CDD505-2E9C-101B-9397-08002B2CF9AE}" pid="9" name="MSIP_Label_794a5f65-4bbe-4bbe-bb66-e23e35795661_SetDate">
    <vt:lpwstr>2023-10-13T09:28:36Z</vt:lpwstr>
  </property>
  <property fmtid="{D5CDD505-2E9C-101B-9397-08002B2CF9AE}" pid="10" name="MSIP_Label_794a5f65-4bbe-4bbe-bb66-e23e35795661_Method">
    <vt:lpwstr>Privileged</vt:lpwstr>
  </property>
  <property fmtid="{D5CDD505-2E9C-101B-9397-08002B2CF9AE}" pid="11" name="MSIP_Label_794a5f65-4bbe-4bbe-bb66-e23e35795661_Name">
    <vt:lpwstr>794a5f65-4bbe-4bbe-bb66-e23e35795661</vt:lpwstr>
  </property>
  <property fmtid="{D5CDD505-2E9C-101B-9397-08002B2CF9AE}" pid="12" name="MSIP_Label_794a5f65-4bbe-4bbe-bb66-e23e35795661_SiteId">
    <vt:lpwstr>a00de4ec-48a8-43a6-be74-e31274e2060d</vt:lpwstr>
  </property>
  <property fmtid="{D5CDD505-2E9C-101B-9397-08002B2CF9AE}" pid="13" name="MSIP_Label_794a5f65-4bbe-4bbe-bb66-e23e35795661_ActionId">
    <vt:lpwstr>4ca7e033-37b1-406b-876c-344685372ef6</vt:lpwstr>
  </property>
  <property fmtid="{D5CDD505-2E9C-101B-9397-08002B2CF9AE}" pid="14" name="MSIP_Label_794a5f65-4bbe-4bbe-bb66-e23e35795661_ContentBits">
    <vt:lpwstr>1</vt:lpwstr>
  </property>
  <property fmtid="{D5CDD505-2E9C-101B-9397-08002B2CF9AE}" pid="15" name="MerckAIPLabel">
    <vt:lpwstr>Public</vt:lpwstr>
  </property>
  <property fmtid="{D5CDD505-2E9C-101B-9397-08002B2CF9AE}" pid="16" name="MerckAIPDataExchange">
    <vt:lpwstr>!MRKMIP@Public</vt:lpwstr>
  </property>
</Properties>
</file>